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4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6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845" r:id="rId4"/>
    <p:sldMasterId id="2147484944" r:id="rId5"/>
    <p:sldMasterId id="2147484955" r:id="rId6"/>
    <p:sldMasterId id="2147484966" r:id="rId7"/>
    <p:sldMasterId id="2147484977" r:id="rId8"/>
    <p:sldMasterId id="2147484988" r:id="rId9"/>
    <p:sldMasterId id="2147484999" r:id="rId10"/>
    <p:sldMasterId id="2147485010" r:id="rId11"/>
    <p:sldMasterId id="2147485021" r:id="rId12"/>
    <p:sldMasterId id="2147485025" r:id="rId13"/>
    <p:sldMasterId id="2147485036" r:id="rId14"/>
    <p:sldMasterId id="2147485047" r:id="rId15"/>
    <p:sldMasterId id="2147485055" r:id="rId16"/>
    <p:sldMasterId id="2147485063" r:id="rId17"/>
    <p:sldMasterId id="2147485082" r:id="rId18"/>
    <p:sldMasterId id="2147485094" r:id="rId19"/>
    <p:sldMasterId id="2147485099" r:id="rId20"/>
  </p:sldMasterIdLst>
  <p:notesMasterIdLst>
    <p:notesMasterId r:id="rId26"/>
  </p:notesMasterIdLst>
  <p:handoutMasterIdLst>
    <p:handoutMasterId r:id="rId27"/>
  </p:handoutMasterIdLst>
  <p:sldIdLst>
    <p:sldId id="1790" r:id="rId21"/>
    <p:sldId id="2147475741" r:id="rId22"/>
    <p:sldId id="2147475742" r:id="rId23"/>
    <p:sldId id="2147475743" r:id="rId24"/>
    <p:sldId id="1832" r:id="rId25"/>
  </p:sldIdLst>
  <p:sldSz cx="9144000" cy="5143500" type="screen16x9"/>
  <p:notesSz cx="6819900" cy="9918700"/>
  <p:custDataLst>
    <p:tags r:id="rId28"/>
  </p:custDataLst>
  <p:defaultTextStyle>
    <a:defPPr lvl="0">
      <a:defRPr lang="it-IT"/>
    </a:defPPr>
    <a:lvl1pPr lvl="0" algn="l" defTabSz="4571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1pPr>
    <a:lvl2pPr marL="457142" lvl="1" algn="l" defTabSz="4571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2pPr>
    <a:lvl3pPr marL="914288" lvl="2" algn="l" defTabSz="4571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3pPr>
    <a:lvl4pPr marL="1371430" lvl="3" algn="l" defTabSz="4571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4pPr>
    <a:lvl5pPr marL="1828574" lvl="4" algn="l" defTabSz="4571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5pPr>
    <a:lvl6pPr marL="2285715" lvl="5" algn="l" defTabSz="914288" rtl="0" eaLnBrk="1" latinLnBrk="0" hangingPunct="1"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6pPr>
    <a:lvl7pPr marL="2742857" lvl="6" algn="l" defTabSz="914288" rtl="0" eaLnBrk="1" latinLnBrk="0" hangingPunct="1"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7pPr>
    <a:lvl8pPr marL="3200000" lvl="7" algn="l" defTabSz="914288" rtl="0" eaLnBrk="1" latinLnBrk="0" hangingPunct="1"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8pPr>
    <a:lvl9pPr marL="3657143" lvl="8" algn="l" defTabSz="914288" rtl="0" eaLnBrk="1" latinLnBrk="0" hangingPunct="1">
      <a:defRPr kern="1200">
        <a:solidFill>
          <a:schemeClr val="tx1"/>
        </a:solidFill>
        <a:latin typeface="Franklin Gothic Dem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3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rnanda Donni Faraes Machado" initials="FDFM" lastIdx="1" clrIdx="0">
    <p:extLst>
      <p:ext uri="{19B8F6BF-5375-455C-9EA6-DF929625EA0E}">
        <p15:presenceInfo xmlns:p15="http://schemas.microsoft.com/office/powerpoint/2012/main" userId="S::fdmachado@timbrasil.com.br::b9b46f95-4ccc-4595-8b89-e72479fbd5a0" providerId="AD"/>
      </p:ext>
    </p:extLst>
  </p:cmAuthor>
  <p:cmAuthor id="2" name="Amarilio Fidel Teles de Menezes" initials="AFTdM" lastIdx="8" clrIdx="1">
    <p:extLst>
      <p:ext uri="{19B8F6BF-5375-455C-9EA6-DF929625EA0E}">
        <p15:presenceInfo xmlns:p15="http://schemas.microsoft.com/office/powerpoint/2012/main" userId="S::afmenezes@timbrasil.com.br::11ec509f-8f6a-4578-956c-ec15537679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00FF"/>
    <a:srgbClr val="0225D7"/>
    <a:srgbClr val="002060"/>
    <a:srgbClr val="3333FF"/>
    <a:srgbClr val="4B2DFF"/>
    <a:srgbClr val="110CE6"/>
    <a:srgbClr val="29BEC5"/>
    <a:srgbClr val="81FFC3"/>
    <a:srgbClr val="0051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5758FB7-9AC5-4552-8A53-C91805E547FA}" styleName="Estilo com Tema 1 - Ênfas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27F97BB-C833-4FB7-BDE5-3F7075034690}" styleName="Estilo com Tema 2 - Ênfase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93372" autoAdjust="0"/>
  </p:normalViewPr>
  <p:slideViewPr>
    <p:cSldViewPr>
      <p:cViewPr>
        <p:scale>
          <a:sx n="75" d="100"/>
          <a:sy n="75" d="100"/>
        </p:scale>
        <p:origin x="1164" y="196"/>
      </p:cViewPr>
      <p:guideLst>
        <p:guide orient="horz" pos="1620"/>
        <p:guide pos="28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967B76-6AC3-4F5E-A047-EB3B06F9F5BD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</dgm:pt>
    <dgm:pt modelId="{BAF79C22-007E-4142-AB4C-78A5C3E2598C}">
      <dgm:prSet phldrT="[Texto]" custT="1"/>
      <dgm:spPr/>
      <dgm:t>
        <a:bodyPr/>
        <a:lstStyle/>
        <a:p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IM </a:t>
          </a:r>
          <a:r>
            <a:rPr lang="pt-BR" sz="1400" kern="1200" dirty="0" err="1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Lab</a:t>
          </a: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                      Rio de Janeiro</a:t>
          </a:r>
        </a:p>
      </dgm:t>
    </dgm:pt>
    <dgm:pt modelId="{872F4409-629E-4E9C-A8E1-7857D292A787}" type="parTrans" cxnId="{E5B27633-813D-4E46-B631-1E8E847E7A52}">
      <dgm:prSet/>
      <dgm:spPr/>
      <dgm:t>
        <a:bodyPr/>
        <a:lstStyle/>
        <a:p>
          <a:endParaRPr lang="pt-BR"/>
        </a:p>
      </dgm:t>
    </dgm:pt>
    <dgm:pt modelId="{5E7D507D-BB1C-4F9C-8A6C-7C7056A3394A}" type="sibTrans" cxnId="{E5B27633-813D-4E46-B631-1E8E847E7A52}">
      <dgm:prSet/>
      <dgm:spPr/>
      <dgm:t>
        <a:bodyPr/>
        <a:lstStyle/>
        <a:p>
          <a:endParaRPr lang="pt-BR"/>
        </a:p>
      </dgm:t>
    </dgm:pt>
    <dgm:pt modelId="{26592796-553F-4618-818B-6878A97BD1B2}">
      <dgm:prSet phldrT="[Texto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Centro de Monitoramento                     Rio de Janeiro</a:t>
          </a:r>
        </a:p>
      </dgm:t>
    </dgm:pt>
    <dgm:pt modelId="{354A3837-107E-4BFA-A108-3809D267877A}" type="parTrans" cxnId="{0DA0A283-B87D-454A-98E1-110436D5BBEA}">
      <dgm:prSet/>
      <dgm:spPr/>
      <dgm:t>
        <a:bodyPr/>
        <a:lstStyle/>
        <a:p>
          <a:endParaRPr lang="pt-BR"/>
        </a:p>
      </dgm:t>
    </dgm:pt>
    <dgm:pt modelId="{9430B9FB-D621-4E8A-A836-CC3C4DAC04F0}" type="sibTrans" cxnId="{0DA0A283-B87D-454A-98E1-110436D5BBEA}">
      <dgm:prSet/>
      <dgm:spPr/>
      <dgm:t>
        <a:bodyPr/>
        <a:lstStyle/>
        <a:p>
          <a:endParaRPr lang="pt-BR"/>
        </a:p>
      </dgm:t>
    </dgm:pt>
    <dgm:pt modelId="{36F0729A-A97E-4D00-B5B1-F4CB6D0715CB}">
      <dgm:prSet phldrT="[Texto]" custT="1"/>
      <dgm:spPr/>
      <dgm:t>
        <a:bodyPr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Loja Conceito Shopping Recife</a:t>
          </a:r>
          <a:r>
            <a:rPr lang="pt-BR" sz="11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*</a:t>
          </a: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79C0F12A-3E84-4545-B3E0-30A0922962E5}" type="parTrans" cxnId="{63D8DDDF-BDB4-4E8D-9D2E-8CD90112C62A}">
      <dgm:prSet/>
      <dgm:spPr/>
      <dgm:t>
        <a:bodyPr/>
        <a:lstStyle/>
        <a:p>
          <a:endParaRPr lang="pt-BR"/>
        </a:p>
      </dgm:t>
    </dgm:pt>
    <dgm:pt modelId="{B65A01FF-E910-4772-B894-7366B5F9177B}" type="sibTrans" cxnId="{63D8DDDF-BDB4-4E8D-9D2E-8CD90112C62A}">
      <dgm:prSet/>
      <dgm:spPr/>
      <dgm:t>
        <a:bodyPr/>
        <a:lstStyle/>
        <a:p>
          <a:endParaRPr lang="pt-BR"/>
        </a:p>
      </dgm:t>
    </dgm:pt>
    <dgm:pt modelId="{A8370830-17F9-4C4B-8FBA-BFEB357E3FDD}" type="pres">
      <dgm:prSet presAssocID="{6B967B76-6AC3-4F5E-A047-EB3B06F9F5BD}" presName="Name0" presStyleCnt="0">
        <dgm:presLayoutVars>
          <dgm:dir/>
          <dgm:resizeHandles val="exact"/>
        </dgm:presLayoutVars>
      </dgm:prSet>
      <dgm:spPr/>
    </dgm:pt>
    <dgm:pt modelId="{E9592D9B-DD2F-4D46-8EBB-5EBCAA58BDAE}" type="pres">
      <dgm:prSet presAssocID="{BAF79C22-007E-4142-AB4C-78A5C3E2598C}" presName="compNode" presStyleCnt="0"/>
      <dgm:spPr/>
    </dgm:pt>
    <dgm:pt modelId="{CA97AD0F-F40C-421C-B7A7-E3557315A2A0}" type="pres">
      <dgm:prSet presAssocID="{BAF79C22-007E-4142-AB4C-78A5C3E2598C}" presName="pictRect" presStyleLbl="node1" presStyleIdx="0" presStyleCnt="3" custLinFactNeighborX="36603" custLinFactNeighborY="-9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extLst>
        <a:ext uri="{E40237B7-FDA0-4F09-8148-C483321AD2D9}">
          <dgm14:cNvPr xmlns:dgm14="http://schemas.microsoft.com/office/drawing/2010/diagram" id="0" name="" descr="Grupo de pessoas sentadas ao redor de uma mesa&#10;&#10;Descrição gerada automaticamente">
            <a:extLst>
              <a:ext uri="{FF2B5EF4-FFF2-40B4-BE49-F238E27FC236}">
                <a16:creationId xmlns:a16="http://schemas.microsoft.com/office/drawing/2014/main" id="{2935D874-9F01-08C3-9245-FA90265BA4BD}"/>
              </a:ext>
            </a:extLst>
          </dgm14:cNvPr>
        </a:ext>
      </dgm:extLst>
    </dgm:pt>
    <dgm:pt modelId="{55EBF996-0930-4A71-87B6-B414FF73B144}" type="pres">
      <dgm:prSet presAssocID="{BAF79C22-007E-4142-AB4C-78A5C3E2598C}" presName="textRect" presStyleLbl="revTx" presStyleIdx="0" presStyleCnt="3" custScaleY="70112" custLinFactNeighborX="29027" custLinFactNeighborY="-18551">
        <dgm:presLayoutVars>
          <dgm:bulletEnabled val="1"/>
        </dgm:presLayoutVars>
      </dgm:prSet>
      <dgm:spPr/>
    </dgm:pt>
    <dgm:pt modelId="{DA01F0C1-2181-4105-AF32-467948C0F341}" type="pres">
      <dgm:prSet presAssocID="{5E7D507D-BB1C-4F9C-8A6C-7C7056A3394A}" presName="sibTrans" presStyleLbl="sibTrans2D1" presStyleIdx="0" presStyleCnt="0"/>
      <dgm:spPr/>
    </dgm:pt>
    <dgm:pt modelId="{BC8F628E-F02C-4347-BACA-3BF3A1E0715C}" type="pres">
      <dgm:prSet presAssocID="{26592796-553F-4618-818B-6878A97BD1B2}" presName="compNode" presStyleCnt="0"/>
      <dgm:spPr/>
    </dgm:pt>
    <dgm:pt modelId="{4750BB8F-3D64-475B-84F0-4B3DC940711C}" type="pres">
      <dgm:prSet presAssocID="{26592796-553F-4618-818B-6878A97BD1B2}" presName="pictRect" presStyleLbl="node1" presStyleIdx="1" presStyleCnt="3" custLinFactNeighborX="-5516" custLinFactNeighborY="3268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extLst>
        <a:ext uri="{E40237B7-FDA0-4F09-8148-C483321AD2D9}">
          <dgm14:cNvPr xmlns:dgm14="http://schemas.microsoft.com/office/drawing/2010/diagram" id="0" name="" descr="Grupo de pessoas posando para foto em ambiente fechado&#10;&#10;Descrição gerada automaticamente">
            <a:extLst>
              <a:ext uri="{FF2B5EF4-FFF2-40B4-BE49-F238E27FC236}">
                <a16:creationId xmlns:a16="http://schemas.microsoft.com/office/drawing/2014/main" id="{8EF1710E-F713-4A4D-AC18-CCF0C892E733}"/>
              </a:ext>
            </a:extLst>
          </dgm14:cNvPr>
        </a:ext>
      </dgm:extLst>
    </dgm:pt>
    <dgm:pt modelId="{8D1EBE41-D376-4C83-AD20-AAEAE7A9DEB3}" type="pres">
      <dgm:prSet presAssocID="{26592796-553F-4618-818B-6878A97BD1B2}" presName="textRect" presStyleLbl="revTx" presStyleIdx="1" presStyleCnt="3" custScaleX="171692" custLinFactNeighborX="-3835" custLinFactNeighborY="-2074">
        <dgm:presLayoutVars>
          <dgm:bulletEnabled val="1"/>
        </dgm:presLayoutVars>
      </dgm:prSet>
      <dgm:spPr/>
    </dgm:pt>
    <dgm:pt modelId="{EBF7901F-ACE1-4882-8A28-F0E9F54B44C7}" type="pres">
      <dgm:prSet presAssocID="{9430B9FB-D621-4E8A-A836-CC3C4DAC04F0}" presName="sibTrans" presStyleLbl="sibTrans2D1" presStyleIdx="0" presStyleCnt="0"/>
      <dgm:spPr/>
    </dgm:pt>
    <dgm:pt modelId="{CF83A3E4-2807-4FF1-88D6-E802F23DED00}" type="pres">
      <dgm:prSet presAssocID="{36F0729A-A97E-4D00-B5B1-F4CB6D0715CB}" presName="compNode" presStyleCnt="0"/>
      <dgm:spPr/>
    </dgm:pt>
    <dgm:pt modelId="{F6AA15BA-5C42-4166-B946-9E03398A8B5D}" type="pres">
      <dgm:prSet presAssocID="{36F0729A-A97E-4D00-B5B1-F4CB6D0715CB}" presName="pictRect" presStyleLbl="node1" presStyleIdx="2" presStyleCnt="3" custScaleX="146087" custScaleY="111698" custLinFactNeighborX="-7621" custLinFactNeighborY="43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  <dgm:extLst>
        <a:ext uri="{E40237B7-FDA0-4F09-8148-C483321AD2D9}">
          <dgm14:cNvPr xmlns:dgm14="http://schemas.microsoft.com/office/drawing/2010/diagram" id="0" name="" descr="Grupo de pessoas posando para foto&#10;&#10;Descrição gerada automaticamente">
            <a:extLst>
              <a:ext uri="{FF2B5EF4-FFF2-40B4-BE49-F238E27FC236}">
                <a16:creationId xmlns:a16="http://schemas.microsoft.com/office/drawing/2014/main" id="{F10FD35D-6049-18A9-8AB6-1AF569D22278}"/>
              </a:ext>
            </a:extLst>
          </dgm14:cNvPr>
        </a:ext>
      </dgm:extLst>
    </dgm:pt>
    <dgm:pt modelId="{667E7256-0160-4A86-898C-160816FEE0AF}" type="pres">
      <dgm:prSet presAssocID="{36F0729A-A97E-4D00-B5B1-F4CB6D0715CB}" presName="textRect" presStyleLbl="revTx" presStyleIdx="2" presStyleCnt="3" custScaleX="151930" custLinFactNeighborX="-4136" custLinFactNeighborY="12111">
        <dgm:presLayoutVars>
          <dgm:bulletEnabled val="1"/>
        </dgm:presLayoutVars>
      </dgm:prSet>
      <dgm:spPr/>
    </dgm:pt>
  </dgm:ptLst>
  <dgm:cxnLst>
    <dgm:cxn modelId="{12849805-A768-425A-8441-7209A207AE8F}" type="presOf" srcId="{BAF79C22-007E-4142-AB4C-78A5C3E2598C}" destId="{55EBF996-0930-4A71-87B6-B414FF73B144}" srcOrd="0" destOrd="0" presId="urn:microsoft.com/office/officeart/2005/8/layout/pList1"/>
    <dgm:cxn modelId="{E5B27633-813D-4E46-B631-1E8E847E7A52}" srcId="{6B967B76-6AC3-4F5E-A047-EB3B06F9F5BD}" destId="{BAF79C22-007E-4142-AB4C-78A5C3E2598C}" srcOrd="0" destOrd="0" parTransId="{872F4409-629E-4E9C-A8E1-7857D292A787}" sibTransId="{5E7D507D-BB1C-4F9C-8A6C-7C7056A3394A}"/>
    <dgm:cxn modelId="{628A9D6C-3983-42D6-8A67-19E53C6BA4D8}" type="presOf" srcId="{36F0729A-A97E-4D00-B5B1-F4CB6D0715CB}" destId="{667E7256-0160-4A86-898C-160816FEE0AF}" srcOrd="0" destOrd="0" presId="urn:microsoft.com/office/officeart/2005/8/layout/pList1"/>
    <dgm:cxn modelId="{F2B5E46C-4656-4070-A737-415885B993AE}" type="presOf" srcId="{9430B9FB-D621-4E8A-A836-CC3C4DAC04F0}" destId="{EBF7901F-ACE1-4882-8A28-F0E9F54B44C7}" srcOrd="0" destOrd="0" presId="urn:microsoft.com/office/officeart/2005/8/layout/pList1"/>
    <dgm:cxn modelId="{0DA0A283-B87D-454A-98E1-110436D5BBEA}" srcId="{6B967B76-6AC3-4F5E-A047-EB3B06F9F5BD}" destId="{26592796-553F-4618-818B-6878A97BD1B2}" srcOrd="1" destOrd="0" parTransId="{354A3837-107E-4BFA-A108-3809D267877A}" sibTransId="{9430B9FB-D621-4E8A-A836-CC3C4DAC04F0}"/>
    <dgm:cxn modelId="{ADC3C29D-6843-4538-9C7C-1EAF435D213B}" type="presOf" srcId="{5E7D507D-BB1C-4F9C-8A6C-7C7056A3394A}" destId="{DA01F0C1-2181-4105-AF32-467948C0F341}" srcOrd="0" destOrd="0" presId="urn:microsoft.com/office/officeart/2005/8/layout/pList1"/>
    <dgm:cxn modelId="{F1A515AC-CEE6-4EA5-B0B8-F6074E0AE53A}" type="presOf" srcId="{26592796-553F-4618-818B-6878A97BD1B2}" destId="{8D1EBE41-D376-4C83-AD20-AAEAE7A9DEB3}" srcOrd="0" destOrd="0" presId="urn:microsoft.com/office/officeart/2005/8/layout/pList1"/>
    <dgm:cxn modelId="{63D8DDDF-BDB4-4E8D-9D2E-8CD90112C62A}" srcId="{6B967B76-6AC3-4F5E-A047-EB3B06F9F5BD}" destId="{36F0729A-A97E-4D00-B5B1-F4CB6D0715CB}" srcOrd="2" destOrd="0" parTransId="{79C0F12A-3E84-4545-B3E0-30A0922962E5}" sibTransId="{B65A01FF-E910-4772-B894-7366B5F9177B}"/>
    <dgm:cxn modelId="{CD856DEE-A0C2-4013-BD83-C843E5CCD9D7}" type="presOf" srcId="{6B967B76-6AC3-4F5E-A047-EB3B06F9F5BD}" destId="{A8370830-17F9-4C4B-8FBA-BFEB357E3FDD}" srcOrd="0" destOrd="0" presId="urn:microsoft.com/office/officeart/2005/8/layout/pList1"/>
    <dgm:cxn modelId="{A8884E41-7424-4CD7-8566-7EE72C456B3A}" type="presParOf" srcId="{A8370830-17F9-4C4B-8FBA-BFEB357E3FDD}" destId="{E9592D9B-DD2F-4D46-8EBB-5EBCAA58BDAE}" srcOrd="0" destOrd="0" presId="urn:microsoft.com/office/officeart/2005/8/layout/pList1"/>
    <dgm:cxn modelId="{A6D93E02-FF74-44B9-9F81-500442AE5B93}" type="presParOf" srcId="{E9592D9B-DD2F-4D46-8EBB-5EBCAA58BDAE}" destId="{CA97AD0F-F40C-421C-B7A7-E3557315A2A0}" srcOrd="0" destOrd="0" presId="urn:microsoft.com/office/officeart/2005/8/layout/pList1"/>
    <dgm:cxn modelId="{484938B5-9C10-4F2F-B541-7DBD8D71C081}" type="presParOf" srcId="{E9592D9B-DD2F-4D46-8EBB-5EBCAA58BDAE}" destId="{55EBF996-0930-4A71-87B6-B414FF73B144}" srcOrd="1" destOrd="0" presId="urn:microsoft.com/office/officeart/2005/8/layout/pList1"/>
    <dgm:cxn modelId="{61D721BA-4E01-4867-ABCF-A3CB623C48E4}" type="presParOf" srcId="{A8370830-17F9-4C4B-8FBA-BFEB357E3FDD}" destId="{DA01F0C1-2181-4105-AF32-467948C0F341}" srcOrd="1" destOrd="0" presId="urn:microsoft.com/office/officeart/2005/8/layout/pList1"/>
    <dgm:cxn modelId="{16DFCC12-85B4-4437-905D-EDFFD62CEAF2}" type="presParOf" srcId="{A8370830-17F9-4C4B-8FBA-BFEB357E3FDD}" destId="{BC8F628E-F02C-4347-BACA-3BF3A1E0715C}" srcOrd="2" destOrd="0" presId="urn:microsoft.com/office/officeart/2005/8/layout/pList1"/>
    <dgm:cxn modelId="{7EA23796-2720-48B4-A65B-89CBD9CDCE6D}" type="presParOf" srcId="{BC8F628E-F02C-4347-BACA-3BF3A1E0715C}" destId="{4750BB8F-3D64-475B-84F0-4B3DC940711C}" srcOrd="0" destOrd="0" presId="urn:microsoft.com/office/officeart/2005/8/layout/pList1"/>
    <dgm:cxn modelId="{00266A9B-43B3-425E-AA4B-C9839A7B4032}" type="presParOf" srcId="{BC8F628E-F02C-4347-BACA-3BF3A1E0715C}" destId="{8D1EBE41-D376-4C83-AD20-AAEAE7A9DEB3}" srcOrd="1" destOrd="0" presId="urn:microsoft.com/office/officeart/2005/8/layout/pList1"/>
    <dgm:cxn modelId="{98E8161F-8797-4BB5-8721-2024CA5D1E8C}" type="presParOf" srcId="{A8370830-17F9-4C4B-8FBA-BFEB357E3FDD}" destId="{EBF7901F-ACE1-4882-8A28-F0E9F54B44C7}" srcOrd="3" destOrd="0" presId="urn:microsoft.com/office/officeart/2005/8/layout/pList1"/>
    <dgm:cxn modelId="{80910B0A-6A52-4CF8-B32D-502DDAC7FF7E}" type="presParOf" srcId="{A8370830-17F9-4C4B-8FBA-BFEB357E3FDD}" destId="{CF83A3E4-2807-4FF1-88D6-E802F23DED00}" srcOrd="4" destOrd="0" presId="urn:microsoft.com/office/officeart/2005/8/layout/pList1"/>
    <dgm:cxn modelId="{91648EF0-9F45-45A7-BC29-902AE7A55E0E}" type="presParOf" srcId="{CF83A3E4-2807-4FF1-88D6-E802F23DED00}" destId="{F6AA15BA-5C42-4166-B946-9E03398A8B5D}" srcOrd="0" destOrd="0" presId="urn:microsoft.com/office/officeart/2005/8/layout/pList1"/>
    <dgm:cxn modelId="{A5D113A4-E666-48A1-99D8-3F52E489988C}" type="presParOf" srcId="{CF83A3E4-2807-4FF1-88D6-E802F23DED00}" destId="{667E7256-0160-4A86-898C-160816FEE0AF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1899D85-285D-46D3-B19F-F81A6797E02F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</dgm:pt>
    <dgm:pt modelId="{D615EE8F-729C-4568-9B41-22856FD1E9C3}">
      <dgm:prSet phldrT="[Texto]"/>
      <dgm:spPr/>
      <dgm:t>
        <a:bodyPr/>
        <a:lstStyle/>
        <a:p>
          <a:r>
            <a:rPr lang="pt-BR" dirty="0">
              <a:solidFill>
                <a:schemeClr val="bg1"/>
              </a:solidFill>
            </a:rPr>
            <a:t>1ª Reunião Ordinária Brasília</a:t>
          </a:r>
        </a:p>
      </dgm:t>
    </dgm:pt>
    <dgm:pt modelId="{87DE3607-FD03-4CA0-955D-647945006E2A}" type="parTrans" cxnId="{EE9B07E5-4A55-4DCE-AEA2-569475E5E0E0}">
      <dgm:prSet/>
      <dgm:spPr/>
      <dgm:t>
        <a:bodyPr/>
        <a:lstStyle/>
        <a:p>
          <a:endParaRPr lang="pt-BR"/>
        </a:p>
      </dgm:t>
    </dgm:pt>
    <dgm:pt modelId="{B92CE338-91AD-44BD-B613-B7EC157972ED}" type="sibTrans" cxnId="{EE9B07E5-4A55-4DCE-AEA2-569475E5E0E0}">
      <dgm:prSet/>
      <dgm:spPr/>
      <dgm:t>
        <a:bodyPr/>
        <a:lstStyle/>
        <a:p>
          <a:endParaRPr lang="pt-BR"/>
        </a:p>
      </dgm:t>
    </dgm:pt>
    <dgm:pt modelId="{ACBC2321-F6F6-48D8-B309-91D6E8A0022B}">
      <dgm:prSet phldrT="[Texto]"/>
      <dgm:spPr/>
      <dgm:t>
        <a:bodyPr/>
        <a:lstStyle/>
        <a:p>
          <a:r>
            <a:rPr lang="pt-BR" dirty="0">
              <a:solidFill>
                <a:schemeClr val="bg1"/>
              </a:solidFill>
            </a:rPr>
            <a:t>2ª Reunião Ordinária Rio de Janeiro</a:t>
          </a:r>
        </a:p>
      </dgm:t>
    </dgm:pt>
    <dgm:pt modelId="{F7297FCB-3D07-4196-A771-7D154BCA2D10}" type="parTrans" cxnId="{DF60BE16-5FAA-4E94-95E4-1C9D51AB0A17}">
      <dgm:prSet/>
      <dgm:spPr/>
      <dgm:t>
        <a:bodyPr/>
        <a:lstStyle/>
        <a:p>
          <a:endParaRPr lang="pt-BR"/>
        </a:p>
      </dgm:t>
    </dgm:pt>
    <dgm:pt modelId="{97DB1CE7-B866-4465-AE68-A8D0CACFF560}" type="sibTrans" cxnId="{DF60BE16-5FAA-4E94-95E4-1C9D51AB0A17}">
      <dgm:prSet/>
      <dgm:spPr/>
      <dgm:t>
        <a:bodyPr/>
        <a:lstStyle/>
        <a:p>
          <a:endParaRPr lang="pt-BR"/>
        </a:p>
      </dgm:t>
    </dgm:pt>
    <dgm:pt modelId="{E4F0D43C-A45B-407C-A8AE-CAF15CCF8B72}">
      <dgm:prSet phldrT="[Texto]"/>
      <dgm:spPr/>
      <dgm:t>
        <a:bodyPr/>
        <a:lstStyle/>
        <a:p>
          <a:r>
            <a:rPr lang="pt-BR" dirty="0">
              <a:solidFill>
                <a:schemeClr val="bg1"/>
              </a:solidFill>
            </a:rPr>
            <a:t>3ª Reunião Ordinária Recife </a:t>
          </a:r>
        </a:p>
      </dgm:t>
    </dgm:pt>
    <dgm:pt modelId="{0274CA63-8B89-40D2-AAA6-17D761FF2DE4}" type="parTrans" cxnId="{47D55C86-65EB-4830-88AC-D47F71D091CA}">
      <dgm:prSet/>
      <dgm:spPr/>
      <dgm:t>
        <a:bodyPr/>
        <a:lstStyle/>
        <a:p>
          <a:endParaRPr lang="pt-BR"/>
        </a:p>
      </dgm:t>
    </dgm:pt>
    <dgm:pt modelId="{0D7A115C-495E-4299-9B64-017E08EE3883}" type="sibTrans" cxnId="{47D55C86-65EB-4830-88AC-D47F71D091CA}">
      <dgm:prSet/>
      <dgm:spPr/>
      <dgm:t>
        <a:bodyPr/>
        <a:lstStyle/>
        <a:p>
          <a:endParaRPr lang="pt-BR"/>
        </a:p>
      </dgm:t>
    </dgm:pt>
    <dgm:pt modelId="{C90AEDEC-BFF1-49B2-9C80-3EDABB51222A}">
      <dgm:prSet phldrT="[Texto]"/>
      <dgm:spPr/>
      <dgm:t>
        <a:bodyPr/>
        <a:lstStyle/>
        <a:p>
          <a:r>
            <a:rPr lang="pt-BR" dirty="0">
              <a:solidFill>
                <a:schemeClr val="bg1"/>
              </a:solidFill>
            </a:rPr>
            <a:t>4ª Reunião Ordinária Rio de Janeiro </a:t>
          </a:r>
        </a:p>
      </dgm:t>
    </dgm:pt>
    <dgm:pt modelId="{4DD38C18-6AD2-4AA6-9CBC-D576FA6F9F09}" type="parTrans" cxnId="{62A6D02A-4A00-47F5-A1C0-FEA19D8F1C83}">
      <dgm:prSet/>
      <dgm:spPr/>
      <dgm:t>
        <a:bodyPr/>
        <a:lstStyle/>
        <a:p>
          <a:endParaRPr lang="pt-BR"/>
        </a:p>
      </dgm:t>
    </dgm:pt>
    <dgm:pt modelId="{07820144-BD7C-4B6C-AC76-3DCB823ADE08}" type="sibTrans" cxnId="{62A6D02A-4A00-47F5-A1C0-FEA19D8F1C83}">
      <dgm:prSet/>
      <dgm:spPr/>
      <dgm:t>
        <a:bodyPr/>
        <a:lstStyle/>
        <a:p>
          <a:endParaRPr lang="pt-BR"/>
        </a:p>
      </dgm:t>
    </dgm:pt>
    <dgm:pt modelId="{844CDD8C-4198-4826-A822-90AFFEDE6CC8}" type="pres">
      <dgm:prSet presAssocID="{21899D85-285D-46D3-B19F-F81A6797E02F}" presName="Name0" presStyleCnt="0">
        <dgm:presLayoutVars>
          <dgm:dir/>
          <dgm:resizeHandles val="exact"/>
        </dgm:presLayoutVars>
      </dgm:prSet>
      <dgm:spPr/>
    </dgm:pt>
    <dgm:pt modelId="{E03FDDAC-EBC4-4173-91D9-DD9E4EE7DA8C}" type="pres">
      <dgm:prSet presAssocID="{D615EE8F-729C-4568-9B41-22856FD1E9C3}" presName="compNode" presStyleCnt="0"/>
      <dgm:spPr/>
    </dgm:pt>
    <dgm:pt modelId="{CE5E1AB9-2A20-47D1-9E56-8A6E2A54CA93}" type="pres">
      <dgm:prSet presAssocID="{D615EE8F-729C-4568-9B41-22856FD1E9C3}" presName="pict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  <dgm:extLst>
        <a:ext uri="{E40237B7-FDA0-4F09-8148-C483321AD2D9}">
          <dgm14:cNvPr xmlns:dgm14="http://schemas.microsoft.com/office/drawing/2010/diagram" id="0" name="" descr="Grupo de pessoas em pé posando para foto&#10;&#10;Descrição gerada automaticamente">
            <a:extLst>
              <a:ext uri="{FF2B5EF4-FFF2-40B4-BE49-F238E27FC236}">
                <a16:creationId xmlns:a16="http://schemas.microsoft.com/office/drawing/2014/main" id="{12D410C5-9CFA-4D2B-4B94-67797F978D77}"/>
              </a:ext>
            </a:extLst>
          </dgm14:cNvPr>
        </a:ext>
      </dgm:extLst>
    </dgm:pt>
    <dgm:pt modelId="{7029C991-D20C-4F3D-AE3F-A33E23DB045F}" type="pres">
      <dgm:prSet presAssocID="{D615EE8F-729C-4568-9B41-22856FD1E9C3}" presName="textRect" presStyleLbl="revTx" presStyleIdx="0" presStyleCnt="4">
        <dgm:presLayoutVars>
          <dgm:bulletEnabled val="1"/>
        </dgm:presLayoutVars>
      </dgm:prSet>
      <dgm:spPr/>
    </dgm:pt>
    <dgm:pt modelId="{AEE32AEE-17D3-4B44-B500-566262923A05}" type="pres">
      <dgm:prSet presAssocID="{B92CE338-91AD-44BD-B613-B7EC157972ED}" presName="sibTrans" presStyleLbl="sibTrans2D1" presStyleIdx="0" presStyleCnt="0"/>
      <dgm:spPr/>
    </dgm:pt>
    <dgm:pt modelId="{E338B745-D186-45BB-B593-2816DE40A294}" type="pres">
      <dgm:prSet presAssocID="{ACBC2321-F6F6-48D8-B309-91D6E8A0022B}" presName="compNode" presStyleCnt="0"/>
      <dgm:spPr/>
    </dgm:pt>
    <dgm:pt modelId="{4B28FA4D-5707-4E25-BAEE-5D0B18F28679}" type="pres">
      <dgm:prSet presAssocID="{ACBC2321-F6F6-48D8-B309-91D6E8A0022B}" presName="pictRect" presStyleLbl="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extLst>
        <a:ext uri="{E40237B7-FDA0-4F09-8148-C483321AD2D9}">
          <dgm14:cNvPr xmlns:dgm14="http://schemas.microsoft.com/office/drawing/2010/diagram" id="0" name="" descr="Pessoas sentadas ao redor de uma mesa com cadeiras&#10;&#10;Descrição gerada automaticamente">
            <a:extLst>
              <a:ext uri="{FF2B5EF4-FFF2-40B4-BE49-F238E27FC236}">
                <a16:creationId xmlns:a16="http://schemas.microsoft.com/office/drawing/2014/main" id="{A31FA937-8621-B5BC-E08B-B92E8137D857}"/>
              </a:ext>
            </a:extLst>
          </dgm14:cNvPr>
        </a:ext>
      </dgm:extLst>
    </dgm:pt>
    <dgm:pt modelId="{D98F0853-8FD7-4C2D-8D15-6C2039E2286F}" type="pres">
      <dgm:prSet presAssocID="{ACBC2321-F6F6-48D8-B309-91D6E8A0022B}" presName="textRect" presStyleLbl="revTx" presStyleIdx="1" presStyleCnt="4">
        <dgm:presLayoutVars>
          <dgm:bulletEnabled val="1"/>
        </dgm:presLayoutVars>
      </dgm:prSet>
      <dgm:spPr/>
    </dgm:pt>
    <dgm:pt modelId="{C37D6B77-E284-4DDA-B00C-9FA9524CB88E}" type="pres">
      <dgm:prSet presAssocID="{97DB1CE7-B866-4465-AE68-A8D0CACFF560}" presName="sibTrans" presStyleLbl="sibTrans2D1" presStyleIdx="0" presStyleCnt="0"/>
      <dgm:spPr/>
    </dgm:pt>
    <dgm:pt modelId="{8BB7212F-7B8C-452B-B84B-26E8D6569E58}" type="pres">
      <dgm:prSet presAssocID="{E4F0D43C-A45B-407C-A8AE-CAF15CCF8B72}" presName="compNode" presStyleCnt="0"/>
      <dgm:spPr/>
    </dgm:pt>
    <dgm:pt modelId="{A66FCAAB-68DB-4CF4-B318-D8E71F648317}" type="pres">
      <dgm:prSet presAssocID="{E4F0D43C-A45B-407C-A8AE-CAF15CCF8B72}" presName="pictRect" presStyleLbl="nod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  <dgm:extLst>
        <a:ext uri="{E40237B7-FDA0-4F09-8148-C483321AD2D9}">
          <dgm14:cNvPr xmlns:dgm14="http://schemas.microsoft.com/office/drawing/2010/diagram" id="0" name="" descr="Grupo de pessoas sentadas ao redor de mesa com computador&#10;&#10;Descrição gerada automaticamente">
            <a:extLst>
              <a:ext uri="{FF2B5EF4-FFF2-40B4-BE49-F238E27FC236}">
                <a16:creationId xmlns:a16="http://schemas.microsoft.com/office/drawing/2014/main" id="{E39B63B9-9E0E-5208-E149-E562B214D1E6}"/>
              </a:ext>
            </a:extLst>
          </dgm14:cNvPr>
        </a:ext>
      </dgm:extLst>
    </dgm:pt>
    <dgm:pt modelId="{FE573F4C-2AE1-4781-9947-DF8E47A604FC}" type="pres">
      <dgm:prSet presAssocID="{E4F0D43C-A45B-407C-A8AE-CAF15CCF8B72}" presName="textRect" presStyleLbl="revTx" presStyleIdx="2" presStyleCnt="4">
        <dgm:presLayoutVars>
          <dgm:bulletEnabled val="1"/>
        </dgm:presLayoutVars>
      </dgm:prSet>
      <dgm:spPr/>
    </dgm:pt>
    <dgm:pt modelId="{7A373B9C-358E-4006-8949-69F6822D96F8}" type="pres">
      <dgm:prSet presAssocID="{0D7A115C-495E-4299-9B64-017E08EE3883}" presName="sibTrans" presStyleLbl="sibTrans2D1" presStyleIdx="0" presStyleCnt="0"/>
      <dgm:spPr/>
    </dgm:pt>
    <dgm:pt modelId="{9E8951DD-1E4B-4C04-B26F-6E160B3FB5C3}" type="pres">
      <dgm:prSet presAssocID="{C90AEDEC-BFF1-49B2-9C80-3EDABB51222A}" presName="compNode" presStyleCnt="0"/>
      <dgm:spPr/>
    </dgm:pt>
    <dgm:pt modelId="{3232FC70-F2CA-4033-B39A-EF2873458BA2}" type="pres">
      <dgm:prSet presAssocID="{C90AEDEC-BFF1-49B2-9C80-3EDABB51222A}" presName="pictRect" presStyleLbl="nod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extLst>
        <a:ext uri="{E40237B7-FDA0-4F09-8148-C483321AD2D9}">
          <dgm14:cNvPr xmlns:dgm14="http://schemas.microsoft.com/office/drawing/2010/diagram" id="0" name="" descr="Pessoas sentadas ao redor de uma mesa&#10;&#10;Descrição gerada automaticamente">
            <a:extLst>
              <a:ext uri="{FF2B5EF4-FFF2-40B4-BE49-F238E27FC236}">
                <a16:creationId xmlns:a16="http://schemas.microsoft.com/office/drawing/2014/main" id="{F1FEDF19-C97B-8669-0C6B-2F61BDB67B7C}"/>
              </a:ext>
            </a:extLst>
          </dgm14:cNvPr>
        </a:ext>
      </dgm:extLst>
    </dgm:pt>
    <dgm:pt modelId="{62E6BCD7-3E76-475A-8360-66CB470B73B5}" type="pres">
      <dgm:prSet presAssocID="{C90AEDEC-BFF1-49B2-9C80-3EDABB51222A}" presName="textRect" presStyleLbl="revTx" presStyleIdx="3" presStyleCnt="4">
        <dgm:presLayoutVars>
          <dgm:bulletEnabled val="1"/>
        </dgm:presLayoutVars>
      </dgm:prSet>
      <dgm:spPr/>
    </dgm:pt>
  </dgm:ptLst>
  <dgm:cxnLst>
    <dgm:cxn modelId="{EBACFA0F-3D84-441B-A395-2E616D460E8F}" type="presOf" srcId="{ACBC2321-F6F6-48D8-B309-91D6E8A0022B}" destId="{D98F0853-8FD7-4C2D-8D15-6C2039E2286F}" srcOrd="0" destOrd="0" presId="urn:microsoft.com/office/officeart/2005/8/layout/pList1"/>
    <dgm:cxn modelId="{DF60BE16-5FAA-4E94-95E4-1C9D51AB0A17}" srcId="{21899D85-285D-46D3-B19F-F81A6797E02F}" destId="{ACBC2321-F6F6-48D8-B309-91D6E8A0022B}" srcOrd="1" destOrd="0" parTransId="{F7297FCB-3D07-4196-A771-7D154BCA2D10}" sibTransId="{97DB1CE7-B866-4465-AE68-A8D0CACFF560}"/>
    <dgm:cxn modelId="{62A6D02A-4A00-47F5-A1C0-FEA19D8F1C83}" srcId="{21899D85-285D-46D3-B19F-F81A6797E02F}" destId="{C90AEDEC-BFF1-49B2-9C80-3EDABB51222A}" srcOrd="3" destOrd="0" parTransId="{4DD38C18-6AD2-4AA6-9CBC-D576FA6F9F09}" sibTransId="{07820144-BD7C-4B6C-AC76-3DCB823ADE08}"/>
    <dgm:cxn modelId="{AE94ED33-D66A-44CB-8B19-54FEF1FB1FC0}" type="presOf" srcId="{D615EE8F-729C-4568-9B41-22856FD1E9C3}" destId="{7029C991-D20C-4F3D-AE3F-A33E23DB045F}" srcOrd="0" destOrd="0" presId="urn:microsoft.com/office/officeart/2005/8/layout/pList1"/>
    <dgm:cxn modelId="{DD8AB941-4448-4F37-865F-25407B301C06}" type="presOf" srcId="{21899D85-285D-46D3-B19F-F81A6797E02F}" destId="{844CDD8C-4198-4826-A822-90AFFEDE6CC8}" srcOrd="0" destOrd="0" presId="urn:microsoft.com/office/officeart/2005/8/layout/pList1"/>
    <dgm:cxn modelId="{4BC01571-9031-4F74-9EBB-23CF6ED3FC2C}" type="presOf" srcId="{0D7A115C-495E-4299-9B64-017E08EE3883}" destId="{7A373B9C-358E-4006-8949-69F6822D96F8}" srcOrd="0" destOrd="0" presId="urn:microsoft.com/office/officeart/2005/8/layout/pList1"/>
    <dgm:cxn modelId="{47D55C86-65EB-4830-88AC-D47F71D091CA}" srcId="{21899D85-285D-46D3-B19F-F81A6797E02F}" destId="{E4F0D43C-A45B-407C-A8AE-CAF15CCF8B72}" srcOrd="2" destOrd="0" parTransId="{0274CA63-8B89-40D2-AAA6-17D761FF2DE4}" sibTransId="{0D7A115C-495E-4299-9B64-017E08EE3883}"/>
    <dgm:cxn modelId="{07C4BFA9-C57B-451E-B947-4D0A1BF1C7C0}" type="presOf" srcId="{E4F0D43C-A45B-407C-A8AE-CAF15CCF8B72}" destId="{FE573F4C-2AE1-4781-9947-DF8E47A604FC}" srcOrd="0" destOrd="0" presId="urn:microsoft.com/office/officeart/2005/8/layout/pList1"/>
    <dgm:cxn modelId="{3C75E6AA-74D2-4111-93C4-D1ACBE1DBFA7}" type="presOf" srcId="{B92CE338-91AD-44BD-B613-B7EC157972ED}" destId="{AEE32AEE-17D3-4B44-B500-566262923A05}" srcOrd="0" destOrd="0" presId="urn:microsoft.com/office/officeart/2005/8/layout/pList1"/>
    <dgm:cxn modelId="{61CE9FCB-96F9-40F9-B671-6B16AB6F6B29}" type="presOf" srcId="{C90AEDEC-BFF1-49B2-9C80-3EDABB51222A}" destId="{62E6BCD7-3E76-475A-8360-66CB470B73B5}" srcOrd="0" destOrd="0" presId="urn:microsoft.com/office/officeart/2005/8/layout/pList1"/>
    <dgm:cxn modelId="{5D4C46D2-87A0-4736-8E42-5D4801E31DBF}" type="presOf" srcId="{97DB1CE7-B866-4465-AE68-A8D0CACFF560}" destId="{C37D6B77-E284-4DDA-B00C-9FA9524CB88E}" srcOrd="0" destOrd="0" presId="urn:microsoft.com/office/officeart/2005/8/layout/pList1"/>
    <dgm:cxn modelId="{EE9B07E5-4A55-4DCE-AEA2-569475E5E0E0}" srcId="{21899D85-285D-46D3-B19F-F81A6797E02F}" destId="{D615EE8F-729C-4568-9B41-22856FD1E9C3}" srcOrd="0" destOrd="0" parTransId="{87DE3607-FD03-4CA0-955D-647945006E2A}" sibTransId="{B92CE338-91AD-44BD-B613-B7EC157972ED}"/>
    <dgm:cxn modelId="{6E31A8B8-C75B-49BF-A921-F87940AE50CD}" type="presParOf" srcId="{844CDD8C-4198-4826-A822-90AFFEDE6CC8}" destId="{E03FDDAC-EBC4-4173-91D9-DD9E4EE7DA8C}" srcOrd="0" destOrd="0" presId="urn:microsoft.com/office/officeart/2005/8/layout/pList1"/>
    <dgm:cxn modelId="{BB9DB565-ACB1-4082-9397-1A3BDF1DEFF7}" type="presParOf" srcId="{E03FDDAC-EBC4-4173-91D9-DD9E4EE7DA8C}" destId="{CE5E1AB9-2A20-47D1-9E56-8A6E2A54CA93}" srcOrd="0" destOrd="0" presId="urn:microsoft.com/office/officeart/2005/8/layout/pList1"/>
    <dgm:cxn modelId="{CD522385-35FC-49B4-A3F3-375D265E4A88}" type="presParOf" srcId="{E03FDDAC-EBC4-4173-91D9-DD9E4EE7DA8C}" destId="{7029C991-D20C-4F3D-AE3F-A33E23DB045F}" srcOrd="1" destOrd="0" presId="urn:microsoft.com/office/officeart/2005/8/layout/pList1"/>
    <dgm:cxn modelId="{831D8733-BA72-4F2A-B8F1-13DEB689E2B4}" type="presParOf" srcId="{844CDD8C-4198-4826-A822-90AFFEDE6CC8}" destId="{AEE32AEE-17D3-4B44-B500-566262923A05}" srcOrd="1" destOrd="0" presId="urn:microsoft.com/office/officeart/2005/8/layout/pList1"/>
    <dgm:cxn modelId="{1D264D78-26B3-4037-AA92-D133BEFA73CD}" type="presParOf" srcId="{844CDD8C-4198-4826-A822-90AFFEDE6CC8}" destId="{E338B745-D186-45BB-B593-2816DE40A294}" srcOrd="2" destOrd="0" presId="urn:microsoft.com/office/officeart/2005/8/layout/pList1"/>
    <dgm:cxn modelId="{2293EA20-989C-44CE-9676-C630E714B866}" type="presParOf" srcId="{E338B745-D186-45BB-B593-2816DE40A294}" destId="{4B28FA4D-5707-4E25-BAEE-5D0B18F28679}" srcOrd="0" destOrd="0" presId="urn:microsoft.com/office/officeart/2005/8/layout/pList1"/>
    <dgm:cxn modelId="{6E887718-B2B6-45C4-B6AB-AC3588D4C32D}" type="presParOf" srcId="{E338B745-D186-45BB-B593-2816DE40A294}" destId="{D98F0853-8FD7-4C2D-8D15-6C2039E2286F}" srcOrd="1" destOrd="0" presId="urn:microsoft.com/office/officeart/2005/8/layout/pList1"/>
    <dgm:cxn modelId="{A291E1E9-5251-455D-BFB3-AA3F8E5A0F51}" type="presParOf" srcId="{844CDD8C-4198-4826-A822-90AFFEDE6CC8}" destId="{C37D6B77-E284-4DDA-B00C-9FA9524CB88E}" srcOrd="3" destOrd="0" presId="urn:microsoft.com/office/officeart/2005/8/layout/pList1"/>
    <dgm:cxn modelId="{9A4C9EA0-CA57-4285-B821-4C44693E22EE}" type="presParOf" srcId="{844CDD8C-4198-4826-A822-90AFFEDE6CC8}" destId="{8BB7212F-7B8C-452B-B84B-26E8D6569E58}" srcOrd="4" destOrd="0" presId="urn:microsoft.com/office/officeart/2005/8/layout/pList1"/>
    <dgm:cxn modelId="{38010A1B-F84D-4E8D-9139-680400F42BAB}" type="presParOf" srcId="{8BB7212F-7B8C-452B-B84B-26E8D6569E58}" destId="{A66FCAAB-68DB-4CF4-B318-D8E71F648317}" srcOrd="0" destOrd="0" presId="urn:microsoft.com/office/officeart/2005/8/layout/pList1"/>
    <dgm:cxn modelId="{3AA0199B-37E5-42DB-B283-4B30767EF3BF}" type="presParOf" srcId="{8BB7212F-7B8C-452B-B84B-26E8D6569E58}" destId="{FE573F4C-2AE1-4781-9947-DF8E47A604FC}" srcOrd="1" destOrd="0" presId="urn:microsoft.com/office/officeart/2005/8/layout/pList1"/>
    <dgm:cxn modelId="{04B0042B-14BD-480E-A72F-4900911C068F}" type="presParOf" srcId="{844CDD8C-4198-4826-A822-90AFFEDE6CC8}" destId="{7A373B9C-358E-4006-8949-69F6822D96F8}" srcOrd="5" destOrd="0" presId="urn:microsoft.com/office/officeart/2005/8/layout/pList1"/>
    <dgm:cxn modelId="{1318FA31-1FA9-45CC-A709-7E860207E291}" type="presParOf" srcId="{844CDD8C-4198-4826-A822-90AFFEDE6CC8}" destId="{9E8951DD-1E4B-4C04-B26F-6E160B3FB5C3}" srcOrd="6" destOrd="0" presId="urn:microsoft.com/office/officeart/2005/8/layout/pList1"/>
    <dgm:cxn modelId="{C62B5790-6B52-461A-A3A1-6EFD935762E1}" type="presParOf" srcId="{9E8951DD-1E4B-4C04-B26F-6E160B3FB5C3}" destId="{3232FC70-F2CA-4033-B39A-EF2873458BA2}" srcOrd="0" destOrd="0" presId="urn:microsoft.com/office/officeart/2005/8/layout/pList1"/>
    <dgm:cxn modelId="{47E64E0E-F130-4D0A-96F7-7FAFA3DFD5AE}" type="presParOf" srcId="{9E8951DD-1E4B-4C04-B26F-6E160B3FB5C3}" destId="{62E6BCD7-3E76-475A-8360-66CB470B73B5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97AD0F-F40C-421C-B7A7-E3557315A2A0}">
      <dsp:nvSpPr>
        <dsp:cNvPr id="0" name=""/>
        <dsp:cNvSpPr/>
      </dsp:nvSpPr>
      <dsp:spPr>
        <a:xfrm>
          <a:off x="876066" y="50120"/>
          <a:ext cx="1783786" cy="1229028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EBF996-0930-4A71-87B6-B414FF73B144}">
      <dsp:nvSpPr>
        <dsp:cNvPr id="0" name=""/>
        <dsp:cNvSpPr/>
      </dsp:nvSpPr>
      <dsp:spPr>
        <a:xfrm>
          <a:off x="740926" y="1256421"/>
          <a:ext cx="1783786" cy="4639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IM </a:t>
          </a:r>
          <a:r>
            <a:rPr lang="pt-BR" sz="1400" kern="1200" dirty="0" err="1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Lab</a:t>
          </a: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                      Rio de Janeiro</a:t>
          </a:r>
        </a:p>
      </dsp:txBody>
      <dsp:txXfrm>
        <a:off x="740926" y="1256421"/>
        <a:ext cx="1783786" cy="463990"/>
      </dsp:txXfrm>
    </dsp:sp>
    <dsp:sp modelId="{4750BB8F-3D64-475B-84F0-4B3DC940711C}">
      <dsp:nvSpPr>
        <dsp:cNvPr id="0" name=""/>
        <dsp:cNvSpPr/>
      </dsp:nvSpPr>
      <dsp:spPr>
        <a:xfrm>
          <a:off x="2726409" y="41979"/>
          <a:ext cx="1783786" cy="1229028"/>
        </a:xfrm>
        <a:prstGeom prst="round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1EBE41-D376-4C83-AD20-AAEAE7A9DEB3}">
      <dsp:nvSpPr>
        <dsp:cNvPr id="0" name=""/>
        <dsp:cNvSpPr/>
      </dsp:nvSpPr>
      <dsp:spPr>
        <a:xfrm>
          <a:off x="2116978" y="1217118"/>
          <a:ext cx="3062618" cy="6617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Centro de Monitoramento                     Rio de Janeiro</a:t>
          </a:r>
        </a:p>
      </dsp:txBody>
      <dsp:txXfrm>
        <a:off x="2116978" y="1217118"/>
        <a:ext cx="3062618" cy="661784"/>
      </dsp:txXfrm>
    </dsp:sp>
    <dsp:sp modelId="{F6AA15BA-5C42-4166-B946-9E03398A8B5D}">
      <dsp:nvSpPr>
        <dsp:cNvPr id="0" name=""/>
        <dsp:cNvSpPr/>
      </dsp:nvSpPr>
      <dsp:spPr>
        <a:xfrm>
          <a:off x="1296693" y="2076378"/>
          <a:ext cx="2605880" cy="1372800"/>
        </a:xfrm>
        <a:prstGeom prst="round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7E7256-0160-4A86-898C-160816FEE0AF}">
      <dsp:nvSpPr>
        <dsp:cNvPr id="0" name=""/>
        <dsp:cNvSpPr/>
      </dsp:nvSpPr>
      <dsp:spPr>
        <a:xfrm>
          <a:off x="1306745" y="3373737"/>
          <a:ext cx="2710106" cy="6617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Loja Conceito Shopping Recife</a:t>
          </a:r>
          <a:r>
            <a:rPr lang="pt-BR" sz="11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*</a:t>
          </a:r>
          <a:r>
            <a:rPr lang="pt-BR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306745" y="3373737"/>
        <a:ext cx="2710106" cy="6617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5E1AB9-2A20-47D1-9E56-8A6E2A54CA93}">
      <dsp:nvSpPr>
        <dsp:cNvPr id="0" name=""/>
        <dsp:cNvSpPr/>
      </dsp:nvSpPr>
      <dsp:spPr>
        <a:xfrm>
          <a:off x="659434" y="306"/>
          <a:ext cx="1741071" cy="1199598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29C991-D20C-4F3D-AE3F-A33E23DB045F}">
      <dsp:nvSpPr>
        <dsp:cNvPr id="0" name=""/>
        <dsp:cNvSpPr/>
      </dsp:nvSpPr>
      <dsp:spPr>
        <a:xfrm>
          <a:off x="659434" y="1199904"/>
          <a:ext cx="1741071" cy="645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1ª Reunião Ordinária Brasília</a:t>
          </a:r>
        </a:p>
      </dsp:txBody>
      <dsp:txXfrm>
        <a:off x="659434" y="1199904"/>
        <a:ext cx="1741071" cy="645937"/>
      </dsp:txXfrm>
    </dsp:sp>
    <dsp:sp modelId="{4B28FA4D-5707-4E25-BAEE-5D0B18F28679}">
      <dsp:nvSpPr>
        <dsp:cNvPr id="0" name=""/>
        <dsp:cNvSpPr/>
      </dsp:nvSpPr>
      <dsp:spPr>
        <a:xfrm>
          <a:off x="2574686" y="306"/>
          <a:ext cx="1741071" cy="1199598"/>
        </a:xfrm>
        <a:prstGeom prst="round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8F0853-8FD7-4C2D-8D15-6C2039E2286F}">
      <dsp:nvSpPr>
        <dsp:cNvPr id="0" name=""/>
        <dsp:cNvSpPr/>
      </dsp:nvSpPr>
      <dsp:spPr>
        <a:xfrm>
          <a:off x="2574686" y="1199904"/>
          <a:ext cx="1741071" cy="645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2ª Reunião Ordinária Rio de Janeiro</a:t>
          </a:r>
        </a:p>
      </dsp:txBody>
      <dsp:txXfrm>
        <a:off x="2574686" y="1199904"/>
        <a:ext cx="1741071" cy="645937"/>
      </dsp:txXfrm>
    </dsp:sp>
    <dsp:sp modelId="{A66FCAAB-68DB-4CF4-B318-D8E71F648317}">
      <dsp:nvSpPr>
        <dsp:cNvPr id="0" name=""/>
        <dsp:cNvSpPr/>
      </dsp:nvSpPr>
      <dsp:spPr>
        <a:xfrm>
          <a:off x="659434" y="2019949"/>
          <a:ext cx="1741071" cy="1199598"/>
        </a:xfrm>
        <a:prstGeom prst="round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573F4C-2AE1-4781-9947-DF8E47A604FC}">
      <dsp:nvSpPr>
        <dsp:cNvPr id="0" name=""/>
        <dsp:cNvSpPr/>
      </dsp:nvSpPr>
      <dsp:spPr>
        <a:xfrm>
          <a:off x="659434" y="3219547"/>
          <a:ext cx="1741071" cy="645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3ª Reunião Ordinária Recife </a:t>
          </a:r>
        </a:p>
      </dsp:txBody>
      <dsp:txXfrm>
        <a:off x="659434" y="3219547"/>
        <a:ext cx="1741071" cy="645937"/>
      </dsp:txXfrm>
    </dsp:sp>
    <dsp:sp modelId="{3232FC70-F2CA-4033-B39A-EF2873458BA2}">
      <dsp:nvSpPr>
        <dsp:cNvPr id="0" name=""/>
        <dsp:cNvSpPr/>
      </dsp:nvSpPr>
      <dsp:spPr>
        <a:xfrm>
          <a:off x="2574686" y="2019949"/>
          <a:ext cx="1741071" cy="1199598"/>
        </a:xfrm>
        <a:prstGeom prst="round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E6BCD7-3E76-475A-8360-66CB470B73B5}">
      <dsp:nvSpPr>
        <dsp:cNvPr id="0" name=""/>
        <dsp:cNvSpPr/>
      </dsp:nvSpPr>
      <dsp:spPr>
        <a:xfrm>
          <a:off x="2574686" y="3219547"/>
          <a:ext cx="1741071" cy="645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chemeClr val="bg1"/>
              </a:solidFill>
            </a:rPr>
            <a:t>4ª Reunião Ordinária Rio de Janeiro </a:t>
          </a:r>
        </a:p>
      </dsp:txBody>
      <dsp:txXfrm>
        <a:off x="2574686" y="3219547"/>
        <a:ext cx="1741071" cy="6459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E1A117-7081-4050-901E-EDF59F300A08}" type="datetimeFigureOut">
              <a:rPr lang="pt-BR" smtClean="0"/>
              <a:t>21/03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33DD6D-8833-44AC-BDCE-B4992EC2F08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828276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63032" y="3"/>
            <a:ext cx="2955290" cy="49593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323BC7C1-7B12-442B-B575-B11D2E2D9797}" type="datetimeFigureOut">
              <a:rPr lang="it-IT"/>
              <a:pPr>
                <a:defRPr/>
              </a:pPr>
              <a:t>21/03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4538"/>
            <a:ext cx="6611938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1990" y="4711383"/>
            <a:ext cx="5455920" cy="44634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593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CF68B0C4-46EF-40A7-A43D-3EEC0A54AB2C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9707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457142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142" algn="l" defTabSz="457142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288" algn="l" defTabSz="457142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430" algn="l" defTabSz="457142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574" algn="l" defTabSz="457142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5715" algn="l" defTabSz="4571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7" algn="l" defTabSz="4571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4571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4571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0" name="Segnaposto testo 19"/>
          <p:cNvSpPr>
            <a:spLocks noGrp="1"/>
          </p:cNvSpPr>
          <p:nvPr>
            <p:ph type="body" sz="quarter" idx="12" hasCustomPrompt="1"/>
          </p:nvPr>
        </p:nvSpPr>
        <p:spPr>
          <a:xfrm>
            <a:off x="740724" y="750257"/>
            <a:ext cx="7920000" cy="157683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marR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1 in TIM Sans Grassetto 14 pt</a:t>
            </a:r>
          </a:p>
          <a:p>
            <a:pPr lvl="0"/>
            <a:endParaRPr lang="pt-BR" noProof="0"/>
          </a:p>
        </p:txBody>
      </p:sp>
      <p:sp>
        <p:nvSpPr>
          <p:cNvPr id="11" name="Segnaposto testo 19"/>
          <p:cNvSpPr>
            <a:spLocks noGrp="1"/>
          </p:cNvSpPr>
          <p:nvPr>
            <p:ph type="body" sz="quarter" idx="20" hasCustomPrompt="1"/>
          </p:nvPr>
        </p:nvSpPr>
        <p:spPr>
          <a:xfrm>
            <a:off x="740724" y="924588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2" name="Segnaposto testo 19"/>
          <p:cNvSpPr>
            <a:spLocks noGrp="1"/>
          </p:cNvSpPr>
          <p:nvPr>
            <p:ph type="body" sz="quarter" idx="39" hasCustomPrompt="1"/>
          </p:nvPr>
        </p:nvSpPr>
        <p:spPr>
          <a:xfrm>
            <a:off x="740724" y="1722365"/>
            <a:ext cx="7920000" cy="157683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marR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2 in TIM Sans Grassetto 14 pt</a:t>
            </a:r>
          </a:p>
          <a:p>
            <a:pPr lvl="0"/>
            <a:endParaRPr lang="pt-BR" noProof="0"/>
          </a:p>
        </p:txBody>
      </p:sp>
      <p:sp>
        <p:nvSpPr>
          <p:cNvPr id="13" name="Segnaposto testo 19"/>
          <p:cNvSpPr>
            <a:spLocks noGrp="1"/>
          </p:cNvSpPr>
          <p:nvPr>
            <p:ph type="body" sz="quarter" idx="40" hasCustomPrompt="1"/>
          </p:nvPr>
        </p:nvSpPr>
        <p:spPr>
          <a:xfrm>
            <a:off x="740724" y="1896696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4" name="Segnaposto testo 19"/>
          <p:cNvSpPr>
            <a:spLocks noGrp="1"/>
          </p:cNvSpPr>
          <p:nvPr>
            <p:ph type="body" sz="quarter" idx="42" hasCustomPrompt="1"/>
          </p:nvPr>
        </p:nvSpPr>
        <p:spPr>
          <a:xfrm>
            <a:off x="740724" y="2694473"/>
            <a:ext cx="7920000" cy="157683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marR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3 in TIM Sans Grassetto 14 pt</a:t>
            </a:r>
          </a:p>
          <a:p>
            <a:pPr lvl="0"/>
            <a:endParaRPr lang="pt-BR" noProof="0"/>
          </a:p>
        </p:txBody>
      </p:sp>
      <p:sp>
        <p:nvSpPr>
          <p:cNvPr id="15" name="Segnaposto testo 19"/>
          <p:cNvSpPr>
            <a:spLocks noGrp="1"/>
          </p:cNvSpPr>
          <p:nvPr>
            <p:ph type="body" sz="quarter" idx="43" hasCustomPrompt="1"/>
          </p:nvPr>
        </p:nvSpPr>
        <p:spPr>
          <a:xfrm>
            <a:off x="740724" y="2868804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6" name="Segnaposto testo 19"/>
          <p:cNvSpPr>
            <a:spLocks noGrp="1"/>
          </p:cNvSpPr>
          <p:nvPr>
            <p:ph type="body" sz="quarter" idx="45" hasCustomPrompt="1"/>
          </p:nvPr>
        </p:nvSpPr>
        <p:spPr>
          <a:xfrm>
            <a:off x="740724" y="3666581"/>
            <a:ext cx="7920000" cy="157683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marR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4 in TIM Sans Grassetto 14 pt</a:t>
            </a:r>
          </a:p>
          <a:p>
            <a:pPr lvl="0"/>
            <a:endParaRPr lang="pt-BR" noProof="0"/>
          </a:p>
        </p:txBody>
      </p:sp>
      <p:sp>
        <p:nvSpPr>
          <p:cNvPr id="17" name="Segnaposto testo 19"/>
          <p:cNvSpPr>
            <a:spLocks noGrp="1"/>
          </p:cNvSpPr>
          <p:nvPr>
            <p:ph type="body" sz="quarter" idx="46" hasCustomPrompt="1"/>
          </p:nvPr>
        </p:nvSpPr>
        <p:spPr>
          <a:xfrm>
            <a:off x="740724" y="3840912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8" name="Segnaposto testo 19"/>
          <p:cNvSpPr>
            <a:spLocks noGrp="1"/>
          </p:cNvSpPr>
          <p:nvPr>
            <p:ph type="body" sz="quarter" idx="48" hasCustomPrompt="1"/>
          </p:nvPr>
        </p:nvSpPr>
        <p:spPr>
          <a:xfrm>
            <a:off x="740724" y="1140612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19" name="Segnaposto testo 19"/>
          <p:cNvSpPr>
            <a:spLocks noGrp="1"/>
          </p:cNvSpPr>
          <p:nvPr>
            <p:ph type="body" sz="quarter" idx="49" hasCustomPrompt="1"/>
          </p:nvPr>
        </p:nvSpPr>
        <p:spPr>
          <a:xfrm>
            <a:off x="740724" y="2112720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50" hasCustomPrompt="1"/>
          </p:nvPr>
        </p:nvSpPr>
        <p:spPr>
          <a:xfrm>
            <a:off x="740724" y="3093166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marR="0" indent="0" algn="l" defTabSz="68569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Tx/>
              <a:buNone/>
              <a:tabLst/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51" hasCustomPrompt="1"/>
          </p:nvPr>
        </p:nvSpPr>
        <p:spPr>
          <a:xfrm>
            <a:off x="740724" y="4069472"/>
            <a:ext cx="7920000" cy="18900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2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23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icon to add picture</a:t>
            </a:r>
          </a:p>
        </p:txBody>
      </p:sp>
      <p:sp>
        <p:nvSpPr>
          <p:cNvPr id="6" name="Segnaposto testo 9"/>
          <p:cNvSpPr>
            <a:spLocks noGrp="1"/>
          </p:cNvSpPr>
          <p:nvPr>
            <p:ph type="body" sz="quarter" idx="13"/>
          </p:nvPr>
        </p:nvSpPr>
        <p:spPr>
          <a:xfrm>
            <a:off x="2555779" y="2571750"/>
            <a:ext cx="6588224" cy="1134126"/>
          </a:xfrm>
          <a:prstGeom prst="rect">
            <a:avLst/>
          </a:prstGeom>
          <a:solidFill>
            <a:srgbClr val="003264">
              <a:alpha val="80000"/>
            </a:srgbClr>
          </a:solidFill>
        </p:spPr>
        <p:txBody>
          <a:bodyPr lIns="80988" tIns="35094" rIns="80988" bIns="35094" anchor="ctr"/>
          <a:lstStyle>
            <a:lvl1pPr marL="269963" indent="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8283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68304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8908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47627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46411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64245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10196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55838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089574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06138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5243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41741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10469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9444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3591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96525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7747672"/>
      </p:ext>
    </p:extLst>
  </p:cSld>
  <p:clrMapOvr>
    <a:masterClrMapping/>
  </p:clrMapOvr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1842681"/>
      </p:ext>
    </p:extLst>
  </p:cSld>
  <p:clrMapOvr>
    <a:masterClrMapping/>
  </p:clrMapOvr>
  <p:hf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3903047"/>
      </p:ext>
    </p:extLst>
  </p:cSld>
  <p:clrMapOvr>
    <a:masterClrMapping/>
  </p:clrMapOvr>
  <p:hf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242210"/>
      </p:ext>
    </p:extLst>
  </p:cSld>
  <p:clrMapOvr>
    <a:masterClrMapping/>
  </p:clrMapOvr>
  <p:hf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7926467"/>
      </p:ext>
    </p:extLst>
  </p:cSld>
  <p:clrMapOvr>
    <a:masterClrMapping/>
  </p:clrMapOvr>
  <p:hf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347260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25506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0656768"/>
      </p:ext>
    </p:extLst>
  </p:cSld>
  <p:clrMapOvr>
    <a:masterClrMapping/>
  </p:clrMapOvr>
  <p:hf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7827848"/>
      </p:ext>
    </p:extLst>
  </p:cSld>
  <p:clrMapOvr>
    <a:masterClrMapping/>
  </p:clrMapOvr>
  <p:hf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1530773"/>
      </p:ext>
    </p:extLst>
  </p:cSld>
  <p:clrMapOvr>
    <a:masterClrMapping/>
  </p:clrMapOvr>
  <p:hf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6395753"/>
      </p:ext>
    </p:extLst>
  </p:cSld>
  <p:clrMapOvr>
    <a:masterClrMapping/>
  </p:clrMapOvr>
  <p:hf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7237401"/>
      </p:ext>
    </p:extLst>
  </p:cSld>
  <p:clrMapOvr>
    <a:masterClrMapping/>
  </p:clrMapOvr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5">
            <a:extLst>
              <a:ext uri="{FF2B5EF4-FFF2-40B4-BE49-F238E27FC236}">
                <a16:creationId xmlns:a16="http://schemas.microsoft.com/office/drawing/2014/main" id="{2895F1F0-6F31-4305-84E0-8F4F6F3AA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3723" y="4836342"/>
            <a:ext cx="229238" cy="187039"/>
          </a:xfrm>
        </p:spPr>
        <p:txBody>
          <a:bodyPr lIns="0" rIns="0"/>
          <a:lstStyle>
            <a:lvl1pPr algn="ctr">
              <a:defRPr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15E95EFF-D411-435F-BB42-D8B5533E2A17}" type="slidenum">
              <a:rPr lang="pt-BR" smtClean="0"/>
              <a:pPr/>
              <a:t>‹nº›</a:t>
            </a:fld>
            <a:endParaRPr lang="pt-BR" dirty="0"/>
          </a:p>
        </p:txBody>
      </p:sp>
      <p:cxnSp>
        <p:nvCxnSpPr>
          <p:cNvPr id="8" name="Connettore 1 15">
            <a:extLst>
              <a:ext uri="{FF2B5EF4-FFF2-40B4-BE49-F238E27FC236}">
                <a16:creationId xmlns:a16="http://schemas.microsoft.com/office/drawing/2014/main" id="{FE679E46-C746-4EFF-A2E8-0EB4BE666DE8}"/>
              </a:ext>
            </a:extLst>
          </p:cNvPr>
          <p:cNvCxnSpPr/>
          <p:nvPr userDrawn="1"/>
        </p:nvCxnSpPr>
        <p:spPr>
          <a:xfrm>
            <a:off x="8745911" y="4856638"/>
            <a:ext cx="0" cy="146447"/>
          </a:xfrm>
          <a:prstGeom prst="line">
            <a:avLst/>
          </a:prstGeom>
          <a:noFill/>
          <a:ln w="6350" cap="flat" cmpd="sng" algn="ctr">
            <a:solidFill>
              <a:srgbClr val="EB0028"/>
            </a:solidFill>
            <a:prstDash val="solid"/>
            <a:miter lim="800000"/>
          </a:ln>
          <a:effectLst/>
        </p:spPr>
      </p:cxnSp>
      <p:pic>
        <p:nvPicPr>
          <p:cNvPr id="9" name="Immagine 7" descr="secondario_rgb.png">
            <a:extLst>
              <a:ext uri="{FF2B5EF4-FFF2-40B4-BE49-F238E27FC236}">
                <a16:creationId xmlns:a16="http://schemas.microsoft.com/office/drawing/2014/main" id="{4A55954F-4758-4DF9-B814-6C600812AA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51" y="4844248"/>
            <a:ext cx="644619" cy="171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2D5912E9-1CCF-4ED0-A928-2BC0DB67E07E}"/>
              </a:ext>
            </a:extLst>
          </p:cNvPr>
          <p:cNvSpPr txBox="1"/>
          <p:nvPr userDrawn="1"/>
        </p:nvSpPr>
        <p:spPr>
          <a:xfrm>
            <a:off x="7356767" y="4779819"/>
            <a:ext cx="13590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75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rojeto Ouvidoria</a:t>
            </a:r>
          </a:p>
          <a:p>
            <a:pPr algn="r"/>
            <a:r>
              <a:rPr lang="pt-BR" sz="750" dirty="0">
                <a:solidFill>
                  <a:schemeClr val="bg1">
                    <a:lumMod val="65000"/>
                  </a:schemeClr>
                </a:solidFill>
                <a:latin typeface="+mn-lt"/>
              </a:rPr>
              <a:t>Bip Consulting</a:t>
            </a:r>
          </a:p>
        </p:txBody>
      </p:sp>
      <p:sp>
        <p:nvSpPr>
          <p:cNvPr id="11" name="Título 10">
            <a:extLst>
              <a:ext uri="{FF2B5EF4-FFF2-40B4-BE49-F238E27FC236}">
                <a16:creationId xmlns:a16="http://schemas.microsoft.com/office/drawing/2014/main" id="{7D623612-6D6B-4F4D-9E81-5F282AE57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51" y="120122"/>
            <a:ext cx="8901009" cy="300083"/>
          </a:xfrm>
        </p:spPr>
        <p:txBody>
          <a:bodyPr>
            <a:noAutofit/>
          </a:bodyPr>
          <a:lstStyle>
            <a:lvl1pPr>
              <a:defRPr sz="1500" b="1">
                <a:solidFill>
                  <a:schemeClr val="accent1">
                    <a:lumMod val="50000"/>
                  </a:schemeClr>
                </a:solidFill>
                <a:latin typeface="TIM Sans" panose="00000500000000000000" pitchFamily="2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873EC047-BA83-4501-83FC-5DAF8D674A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161" y="484586"/>
            <a:ext cx="8901113" cy="186928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C00000"/>
                </a:solidFill>
                <a:latin typeface="TIM Sans" panose="00000500000000000000" pitchFamily="2" charset="0"/>
              </a:defRPr>
            </a:lvl1pPr>
          </a:lstStyle>
          <a:p>
            <a:pPr lvl="0"/>
            <a:r>
              <a:rPr lang="pt-BR" dirty="0"/>
              <a:t>[Resumo/conclusão sobre o conteúdo]</a:t>
            </a:r>
          </a:p>
        </p:txBody>
      </p:sp>
    </p:spTree>
    <p:extLst>
      <p:ext uri="{BB962C8B-B14F-4D97-AF65-F5344CB8AC3E}">
        <p14:creationId xmlns:p14="http://schemas.microsoft.com/office/powerpoint/2010/main" val="25755901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 userDrawn="1"/>
        </p:nvSpPr>
        <p:spPr>
          <a:xfrm>
            <a:off x="2555776" y="1599642"/>
            <a:ext cx="6588224" cy="1458162"/>
          </a:xfrm>
          <a:prstGeom prst="rect">
            <a:avLst/>
          </a:prstGeom>
          <a:solidFill>
            <a:srgbClr val="00469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/>
            <a:endParaRPr lang="pt-BR">
              <a:solidFill>
                <a:prstClr val="white"/>
              </a:solidFill>
            </a:endParaRPr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2987827" y="1896922"/>
            <a:ext cx="5809307" cy="863612"/>
          </a:xfrm>
          <a:prstGeom prst="rect">
            <a:avLst/>
          </a:prstGeom>
        </p:spPr>
        <p:txBody>
          <a:bodyPr lIns="121906" tIns="60953" rIns="121906" bIns="60953" anchor="ctr"/>
          <a:lstStyle>
            <a:lvl1pPr>
              <a:lnSpc>
                <a:spcPct val="100000"/>
              </a:lnSpc>
              <a:defRPr sz="2700">
                <a:solidFill>
                  <a:schemeClr val="bg1"/>
                </a:solidFill>
                <a:latin typeface="TIM Sans Medium" panose="02020503040602060503" pitchFamily="18" charset="0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>
                <a:solidFill>
                  <a:prstClr val="black"/>
                </a:solidFill>
              </a:rPr>
              <a:t>Titulo da Apresentacao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>
                <a:solidFill>
                  <a:srgbClr val="4BACC6">
                    <a:lumMod val="50000"/>
                    <a:lumOff val="50000"/>
                  </a:srgbClr>
                </a:solidFill>
              </a:rPr>
              <a:t>Nome do Autor, Nome Area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5" y="5003800"/>
            <a:ext cx="3606800" cy="139700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149046155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214303" marR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400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334550" indent="-214303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728627" indent="-214303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14303" marR="0" lvl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14303" marR="0" lvl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4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r>
              <a:rPr lang="pt-BR"/>
              <a:t>Titulo da Apresentacao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0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4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42576293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6" name="MSIPCMContentMarking" descr="{&quot;HashCode&quot;:-1097642540,&quot;Placement&quot;:&quot;Footer&quot;,&quot;Top&quot;:522.0343,&quot;Left&quot;:420.527649,&quot;SlideWidth&quot;:960,&quot;SlideHeight&quot;:540}">
            <a:extLst>
              <a:ext uri="{FF2B5EF4-FFF2-40B4-BE49-F238E27FC236}">
                <a16:creationId xmlns:a16="http://schemas.microsoft.com/office/drawing/2014/main" id="{350CE877-8297-449C-A156-48A7458C3210}"/>
              </a:ext>
            </a:extLst>
          </p:cNvPr>
          <p:cNvSpPr txBox="1"/>
          <p:nvPr userDrawn="1"/>
        </p:nvSpPr>
        <p:spPr>
          <a:xfrm>
            <a:off x="4005526" y="5011773"/>
            <a:ext cx="1132949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pt-BR" sz="6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16872280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5" y="270272"/>
            <a:ext cx="8459789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/>
              <a:t>Click </a:t>
            </a:r>
            <a:r>
              <a:rPr lang="pt-BR" noProof="0" err="1"/>
              <a:t>to</a:t>
            </a:r>
            <a:r>
              <a:rPr lang="pt-BR" noProof="0"/>
              <a:t> </a:t>
            </a:r>
            <a:r>
              <a:rPr lang="pt-BR" noProof="0" err="1"/>
              <a:t>edit</a:t>
            </a:r>
            <a:r>
              <a:rPr lang="pt-BR" noProof="0"/>
              <a:t> Master </a:t>
            </a:r>
            <a:r>
              <a:rPr lang="pt-BR" noProof="0" err="1"/>
              <a:t>title</a:t>
            </a:r>
            <a:r>
              <a:rPr lang="pt-BR" noProof="0"/>
              <a:t> </a:t>
            </a:r>
            <a:r>
              <a:rPr lang="pt-BR" noProof="0" err="1"/>
              <a:t>style</a:t>
            </a:r>
            <a:endParaRPr lang="pt-BR" noProof="0"/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309563" y="714381"/>
            <a:ext cx="8449940" cy="3916747"/>
          </a:xfrm>
          <a:prstGeom prst="rect">
            <a:avLst/>
          </a:prstGeom>
        </p:spPr>
        <p:txBody>
          <a:bodyPr lIns="101079" tIns="50539" rIns="101079" bIns="50539"/>
          <a:lstStyle>
            <a:lvl1pPr marL="213210" indent="-213210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TIM Sans" panose="00000500000000000000" pitchFamily="2" charset="0"/>
              </a:defRPr>
            </a:lvl1pPr>
            <a:lvl2pPr marL="546053" indent="-213210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TIM Sans" panose="00000500000000000000" pitchFamily="2" charset="0"/>
              </a:defRPr>
            </a:lvl2pPr>
            <a:lvl3pPr marL="880080" indent="-213210">
              <a:buClr>
                <a:srgbClr val="EB0028"/>
              </a:buClr>
              <a:buSzPct val="100000"/>
              <a:buFont typeface="TIM Sans" panose="00000500000000000000" pitchFamily="50" charset="0"/>
              <a:buChar char="–"/>
              <a:defRPr>
                <a:latin typeface="TIM Sans" panose="00000500000000000000" pitchFamily="2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</a:t>
            </a:r>
            <a:r>
              <a:rPr lang="pt-BR" noProof="0" err="1"/>
              <a:t>to</a:t>
            </a:r>
            <a:r>
              <a:rPr lang="pt-BR" noProof="0"/>
              <a:t> </a:t>
            </a:r>
            <a:r>
              <a:rPr lang="pt-BR" noProof="0" err="1"/>
              <a:t>edit</a:t>
            </a:r>
            <a:r>
              <a:rPr lang="pt-BR" noProof="0"/>
              <a:t> Master </a:t>
            </a:r>
            <a:r>
              <a:rPr lang="pt-BR" noProof="0" err="1"/>
              <a:t>text</a:t>
            </a:r>
            <a:r>
              <a:rPr lang="pt-BR" noProof="0"/>
              <a:t> </a:t>
            </a:r>
            <a:r>
              <a:rPr lang="pt-BR" noProof="0" err="1"/>
              <a:t>styles</a:t>
            </a:r>
            <a:endParaRPr lang="pt-BR" noProof="0"/>
          </a:p>
          <a:p>
            <a:pPr lvl="1"/>
            <a:r>
              <a:rPr lang="pt-BR" noProof="0" err="1"/>
              <a:t>Second</a:t>
            </a:r>
            <a:r>
              <a:rPr lang="pt-BR" noProof="0"/>
              <a:t> </a:t>
            </a:r>
            <a:r>
              <a:rPr lang="pt-BR" noProof="0" err="1"/>
              <a:t>level</a:t>
            </a:r>
            <a:endParaRPr lang="pt-BR" noProof="0"/>
          </a:p>
          <a:p>
            <a:pPr lvl="2"/>
            <a:r>
              <a:rPr lang="pt-BR" noProof="0" err="1"/>
              <a:t>Third</a:t>
            </a:r>
            <a:r>
              <a:rPr lang="pt-BR" noProof="0"/>
              <a:t> </a:t>
            </a:r>
            <a:r>
              <a:rPr lang="pt-BR" noProof="0" err="1"/>
              <a:t>level</a:t>
            </a:r>
            <a:endParaRPr lang="pt-BR" noProof="0"/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4"/>
          </a:xfrm>
          <a:prstGeom prst="rect">
            <a:avLst/>
          </a:prstGeom>
        </p:spPr>
        <p:txBody>
          <a:bodyPr lIns="91434" tIns="45718" rIns="91434" bIns="45718"/>
          <a:lstStyle>
            <a:lvl1pPr>
              <a:defRPr lang="it-IT" smtClean="0"/>
            </a:lvl1pPr>
          </a:lstStyle>
          <a:p>
            <a:r>
              <a:rPr lang="pt-BR" noProof="0"/>
              <a:t>Titulo da </a:t>
            </a:r>
            <a:r>
              <a:rPr lang="pt-BR" noProof="0" err="1"/>
              <a:t>Apresentacao</a:t>
            </a:r>
            <a:endParaRPr lang="pt-BR" noProof="0"/>
          </a:p>
        </p:txBody>
      </p:sp>
      <p:sp>
        <p:nvSpPr>
          <p:cNvPr id="8" name="Vertical Text Placeholder 17">
            <a:extLst>
              <a:ext uri="{FF2B5EF4-FFF2-40B4-BE49-F238E27FC236}">
                <a16:creationId xmlns:a16="http://schemas.microsoft.com/office/drawing/2014/main" id="{42BE4EC1-4636-4191-AD9C-969971B67E2D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EFCA932-48AB-455E-A3AB-82E5A8E015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9298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666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52014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00EA594D-92C0-254C-B2AD-BA16BC6D66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B696BD4-91BF-F04D-934A-F39F06C8F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90976988-E4AC-A445-B892-75080217E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174EF55F-87AF-1746-9E4F-2FB303774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180625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46877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 dirty="0"/>
              <a:t>LEGENDA</a:t>
            </a:r>
            <a:br>
              <a:rPr lang="en-US" dirty="0"/>
            </a:br>
            <a:r>
              <a:rPr lang="en-US" dirty="0" err="1"/>
              <a:t>Texto</a:t>
            </a:r>
            <a:r>
              <a:rPr lang="en-US" dirty="0"/>
              <a:t> de legenda para </a:t>
            </a:r>
            <a:r>
              <a:rPr lang="en-US" dirty="0" err="1"/>
              <a:t>gráficos</a:t>
            </a:r>
            <a:r>
              <a:rPr lang="en-US" dirty="0"/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82838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 dirty="0"/>
              <a:t>LEGENDA</a:t>
            </a:r>
            <a:br>
              <a:rPr lang="en-US" dirty="0"/>
            </a:br>
            <a:r>
              <a:rPr lang="en-US" dirty="0" err="1"/>
              <a:t>Texto</a:t>
            </a:r>
            <a:r>
              <a:rPr lang="en-US" dirty="0"/>
              <a:t> de legenda para </a:t>
            </a:r>
            <a:r>
              <a:rPr lang="en-US" dirty="0" err="1"/>
              <a:t>gráficos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6794629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 dirty="0"/>
              <a:t>LEGENDA</a:t>
            </a:r>
            <a:br>
              <a:rPr lang="en-US" dirty="0"/>
            </a:br>
            <a:r>
              <a:rPr lang="en-US" dirty="0" err="1"/>
              <a:t>Texto</a:t>
            </a:r>
            <a:r>
              <a:rPr lang="en-US" dirty="0"/>
              <a:t> de legenda para </a:t>
            </a:r>
            <a:r>
              <a:rPr lang="en-US" dirty="0" err="1"/>
              <a:t>gráficos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616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 dirty="0"/>
              <a:t>LEGENDA</a:t>
            </a:r>
            <a:br>
              <a:rPr lang="en-US" dirty="0"/>
            </a:br>
            <a:r>
              <a:rPr lang="en-US" dirty="0" err="1"/>
              <a:t>Texto</a:t>
            </a:r>
            <a:r>
              <a:rPr lang="en-US" dirty="0"/>
              <a:t> de legenda para </a:t>
            </a:r>
            <a:r>
              <a:rPr lang="en-US" dirty="0" err="1"/>
              <a:t>gráficos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 dirty="0"/>
              <a:t>LEGENDA</a:t>
            </a:r>
            <a:br>
              <a:rPr lang="en-US" dirty="0"/>
            </a:br>
            <a:r>
              <a:rPr lang="en-US" dirty="0" err="1"/>
              <a:t>Texto</a:t>
            </a:r>
            <a:r>
              <a:rPr lang="en-US" dirty="0"/>
              <a:t> de legenda para </a:t>
            </a:r>
            <a:r>
              <a:rPr lang="en-US" dirty="0" err="1"/>
              <a:t>gráficos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892007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 dirty="0"/>
              <a:t>LEGENDA</a:t>
            </a:r>
            <a:br>
              <a:rPr lang="en-US" dirty="0"/>
            </a:br>
            <a:r>
              <a:rPr lang="en-US" dirty="0" err="1"/>
              <a:t>Texto</a:t>
            </a:r>
            <a:r>
              <a:rPr lang="en-US" dirty="0"/>
              <a:t> de legenda para </a:t>
            </a:r>
            <a:r>
              <a:rPr lang="en-US" dirty="0" err="1"/>
              <a:t>gráficos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</a:t>
            </a:r>
            <a:endParaRPr lang="pt-BR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708106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22740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986388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59B2A80A-0E6D-1747-98B3-C53048B0F6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F5A93CF7-38E7-F648-9E86-442947B298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0155BA8A-6414-D946-A056-F701E54DD3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4F3AC40D-D90A-1649-87AB-70C2A0BDEB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1785212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54675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00EA594D-92C0-254C-B2AD-BA16BC6D66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B696BD4-91BF-F04D-934A-F39F06C8F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90976988-E4AC-A445-B892-75080217E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174EF55F-87AF-1746-9E4F-2FB303774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25732929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AD274E1-F5A7-2D43-A01C-6A7448D66C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4554" y="1300163"/>
            <a:ext cx="1970771" cy="2543175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_Tópico</a:t>
            </a:r>
          </a:p>
          <a:p>
            <a:pPr lvl="0"/>
            <a:r>
              <a:rPr lang="en-US" dirty="0"/>
              <a:t>00_Tópico</a:t>
            </a:r>
          </a:p>
          <a:p>
            <a:pPr lvl="0"/>
            <a:r>
              <a:rPr lang="en-US" dirty="0"/>
              <a:t>00_Tópico</a:t>
            </a:r>
          </a:p>
          <a:p>
            <a:pPr lvl="0"/>
            <a:r>
              <a:rPr lang="en-US" dirty="0"/>
              <a:t>00_Tópico</a:t>
            </a:r>
          </a:p>
          <a:p>
            <a:pPr lvl="0"/>
            <a:r>
              <a:rPr lang="en-US" dirty="0"/>
              <a:t>00_Tópico</a:t>
            </a:r>
          </a:p>
          <a:p>
            <a:pPr lvl="0"/>
            <a:r>
              <a:rPr lang="en-US" dirty="0"/>
              <a:t>00_Tópico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F77488B-FD3C-3442-8F37-4ADDFA6271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5572" y="311133"/>
            <a:ext cx="386384" cy="323597"/>
          </a:xfrm>
          <a:prstGeom prst="rect">
            <a:avLst/>
          </a:prstGeom>
        </p:spPr>
      </p:pic>
      <p:sp>
        <p:nvSpPr>
          <p:cNvPr id="5" name="Vertical Text Placeholder 17">
            <a:extLst>
              <a:ext uri="{FF2B5EF4-FFF2-40B4-BE49-F238E27FC236}">
                <a16:creationId xmlns:a16="http://schemas.microsoft.com/office/drawing/2014/main" id="{BD478661-D91D-9340-9BEB-87E499CED5B3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89405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59B2A80A-0E6D-1747-98B3-C53048B0F6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F5A93CF7-38E7-F648-9E86-442947B298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0155BA8A-6414-D946-A056-F701E54DD3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4F3AC40D-D90A-1649-87AB-70C2A0BDEB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1985885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00EA594D-92C0-254C-B2AD-BA16BC6D66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B696BD4-91BF-F04D-934A-F39F06C8F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90976988-E4AC-A445-B892-75080217E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174EF55F-87AF-1746-9E4F-2FB303774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41045809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94130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57500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AD274E1-F5A7-2D43-A01C-6A7448D66C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4554" y="1300163"/>
            <a:ext cx="1970771" cy="2543175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F77488B-FD3C-3442-8F37-4ADDFA6271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55572" y="311133"/>
            <a:ext cx="386384" cy="323597"/>
          </a:xfrm>
          <a:prstGeom prst="rect">
            <a:avLst/>
          </a:prstGeom>
        </p:spPr>
      </p:pic>
      <p:sp>
        <p:nvSpPr>
          <p:cNvPr id="5" name="Vertical Text Placeholder 17">
            <a:extLst>
              <a:ext uri="{FF2B5EF4-FFF2-40B4-BE49-F238E27FC236}">
                <a16:creationId xmlns:a16="http://schemas.microsoft.com/office/drawing/2014/main" id="{BD478661-D91D-9340-9BEB-87E499CED5B3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82453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9431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05007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150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1622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9648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 marL="214283" marR="0" indent="-214283" algn="l" defTabSz="685698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400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334518" indent="-214283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728555" indent="-214283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14283" marR="0" lvl="0" indent="-214283" algn="l" defTabSz="685698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14283" marR="0" lvl="0" indent="-214283" algn="l" defTabSz="685698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721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9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 dirty="0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5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1490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28407429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87380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95779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5249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98036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983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25482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512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14668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 dirty="0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3064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7657156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52619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26975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17086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89919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80367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40210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8462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565645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9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 dirty="0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5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189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3" y="606812"/>
            <a:ext cx="8474397" cy="2977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noAutofit/>
          </a:bodyPr>
          <a:lstStyle>
            <a:lvl1pPr marL="0" indent="0">
              <a:lnSpc>
                <a:spcPct val="50000"/>
              </a:lnSpc>
              <a:defRPr lang="it-IT" sz="1100" kern="1200" dirty="0">
                <a:solidFill>
                  <a:schemeClr val="accent4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1070815"/>
            <a:ext cx="8450262" cy="3560311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885221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1065278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16023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50908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60699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57527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59449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25188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1778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01868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1412140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4" y="270272"/>
            <a:ext cx="8459788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309562" y="714382"/>
            <a:ext cx="8449940" cy="3916747"/>
          </a:xfrm>
          <a:prstGeom prst="rect">
            <a:avLst/>
          </a:prstGeom>
        </p:spPr>
        <p:txBody>
          <a:bodyPr lIns="91430" tIns="45715" rIns="91430" bIns="45715"/>
          <a:lstStyle>
            <a:lvl1pPr marL="214283" indent="-214283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TIM Sans" panose="00000500000000000000" pitchFamily="2" charset="0"/>
              </a:defRPr>
            </a:lvl1pPr>
            <a:lvl2pPr marL="548798" indent="-214283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TIM Sans" panose="00000500000000000000" pitchFamily="2" charset="0"/>
              </a:defRPr>
            </a:lvl2pPr>
            <a:lvl3pPr marL="884503" indent="-214283">
              <a:buClr>
                <a:srgbClr val="EB0028"/>
              </a:buClr>
              <a:buSzPct val="100000"/>
              <a:buFont typeface="TIM Sans" panose="00000500000000000000" pitchFamily="50" charset="0"/>
              <a:buChar char="–"/>
              <a:defRPr>
                <a:latin typeface="TIM Sans" panose="00000500000000000000" pitchFamily="2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60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16630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83283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7257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07081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39978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63187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5348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10719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9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 dirty="0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5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4073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4256483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ubtitl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4" y="270272"/>
            <a:ext cx="8459788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295276" y="1021695"/>
            <a:ext cx="8449940" cy="3597937"/>
          </a:xfrm>
          <a:prstGeom prst="rect">
            <a:avLst/>
          </a:prstGeom>
        </p:spPr>
        <p:txBody>
          <a:bodyPr lIns="91430" tIns="45715" rIns="91430" bIns="45715"/>
          <a:lstStyle>
            <a:lvl1pPr marL="214283" indent="-214283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 marL="548798" indent="-214283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884503" indent="-214283">
              <a:buClr>
                <a:srgbClr val="EB0028"/>
              </a:buClr>
              <a:buSzPct val="100000"/>
              <a:buFont typeface="TIM Sans" panose="00000500000000000000" pitchFamily="50" charset="0"/>
              <a:buChar char="–"/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7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8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3" y="606812"/>
            <a:ext cx="8474397" cy="2977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noAutofit/>
          </a:bodyPr>
          <a:lstStyle>
            <a:lvl1pPr>
              <a:defRPr lang="en-US" sz="1100" smtClean="0">
                <a:solidFill>
                  <a:schemeClr val="accent4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>
              <a:lnSpc>
                <a:spcPct val="50000"/>
              </a:lnSpc>
            </a:pPr>
            <a:r>
              <a:rPr lang="pt-BR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66369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14363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31771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07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191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24482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86180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85067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14713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646794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0468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4" y="270272"/>
            <a:ext cx="8459788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/>
              <a:t>Click to edit Master title style</a:t>
            </a:r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309570" y="810752"/>
            <a:ext cx="4140893" cy="41458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91430" tIns="45715" rIns="91430" bIns="45715">
            <a:noAutofit/>
          </a:bodyPr>
          <a:lstStyle>
            <a:lvl1pPr>
              <a:defRPr lang="it-IT" sz="1100" kern="1200" dirty="0">
                <a:solidFill>
                  <a:srgbClr val="EB0028"/>
                </a:solidFill>
                <a:latin typeface="TIM Sans" panose="02020503040602060503" pitchFamily="18" charset="0"/>
                <a:ea typeface="+mj-ea"/>
                <a:cs typeface="TIM Sans" panose="02020503040602060503" pitchFamily="18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6" name="Segnaposto contenuto 3"/>
          <p:cNvSpPr>
            <a:spLocks noGrp="1"/>
          </p:cNvSpPr>
          <p:nvPr>
            <p:ph sz="half" idx="2"/>
          </p:nvPr>
        </p:nvSpPr>
        <p:spPr>
          <a:xfrm>
            <a:off x="304478" y="1134790"/>
            <a:ext cx="4145979" cy="326501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defRPr sz="1100">
                <a:solidFill>
                  <a:schemeClr val="accent5"/>
                </a:solidFill>
              </a:defRPr>
            </a:lvl1pPr>
            <a:lvl2pPr>
              <a:defRPr sz="15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7" name="Segnaposto contenuto 5"/>
          <p:cNvSpPr>
            <a:spLocks noGrp="1"/>
          </p:cNvSpPr>
          <p:nvPr>
            <p:ph sz="quarter" idx="4"/>
          </p:nvPr>
        </p:nvSpPr>
        <p:spPr>
          <a:xfrm>
            <a:off x="4551871" y="1134790"/>
            <a:ext cx="4131188" cy="3265010"/>
          </a:xfrm>
          <a:prstGeom prst="rect">
            <a:avLst/>
          </a:prstGeom>
        </p:spPr>
        <p:txBody>
          <a:bodyPr lIns="91430" tIns="45715" rIns="91430" bIns="45715">
            <a:noAutofit/>
          </a:bodyPr>
          <a:lstStyle>
            <a:lvl1pPr marL="0" indent="0">
              <a:defRPr sz="1100">
                <a:solidFill>
                  <a:schemeClr val="accent5"/>
                </a:solidFill>
              </a:defRPr>
            </a:lvl1pPr>
            <a:lvl2pPr>
              <a:defRPr sz="15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4539464" y="809582"/>
            <a:ext cx="4140893" cy="41458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91430" tIns="45715" rIns="91430" bIns="45715">
            <a:noAutofit/>
          </a:bodyPr>
          <a:lstStyle>
            <a:lvl1pPr>
              <a:defRPr lang="it-IT" sz="1100" kern="1200" dirty="0">
                <a:solidFill>
                  <a:srgbClr val="EB0028"/>
                </a:solidFill>
                <a:latin typeface="TIM Sans" panose="02020503040602060503" pitchFamily="18" charset="0"/>
                <a:ea typeface="+mj-ea"/>
                <a:cs typeface="TIM Sans" panose="02020503040602060503" pitchFamily="18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9" name="Segnaposto data 7"/>
          <p:cNvSpPr>
            <a:spLocks noGrp="1"/>
          </p:cNvSpPr>
          <p:nvPr>
            <p:ph type="dt" sz="quarter" idx="14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10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706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415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0243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96502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19205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072115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06628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7446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84709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8718451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59B2A80A-0E6D-1747-98B3-C53048B0F6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F5A93CF7-38E7-F648-9E86-442947B298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0155BA8A-6414-D946-A056-F701E54DD3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4F3AC40D-D90A-1649-87AB-70C2A0BDEB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3400390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00EA594D-92C0-254C-B2AD-BA16BC6D66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07785" y="2660680"/>
            <a:ext cx="3930757" cy="607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25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B696BD4-91BF-F04D-934A-F39F06C8F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785" y="3366193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90976988-E4AC-A445-B892-75080217E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785" y="3558217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174EF55F-87AF-1746-9E4F-2FB303774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7785" y="3722809"/>
            <a:ext cx="3930757" cy="18168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05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320187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 userDrawn="1"/>
        </p:nvSpPr>
        <p:spPr>
          <a:xfrm>
            <a:off x="2555776" y="1599642"/>
            <a:ext cx="6588224" cy="1458162"/>
          </a:xfrm>
          <a:prstGeom prst="rect">
            <a:avLst/>
          </a:prstGeom>
          <a:solidFill>
            <a:srgbClr val="00469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pt-BR" sz="1400">
              <a:solidFill>
                <a:srgbClr val="FFFFFF"/>
              </a:solidFill>
            </a:endParaRPr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2987831" y="1896922"/>
            <a:ext cx="5809307" cy="863612"/>
          </a:xfrm>
          <a:prstGeom prst="rect">
            <a:avLst/>
          </a:prstGeom>
        </p:spPr>
        <p:txBody>
          <a:bodyPr lIns="91430" tIns="45715" rIns="91430" bIns="45715" anchor="ctr"/>
          <a:lstStyle>
            <a:lvl1pPr>
              <a:lnSpc>
                <a:spcPct val="100000"/>
              </a:lnSpc>
              <a:defRPr sz="2700">
                <a:solidFill>
                  <a:schemeClr val="bg1"/>
                </a:solidFill>
                <a:latin typeface="TIM Sans Medium" panose="02020503040602060503" pitchFamily="18" charset="0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4845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12657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70668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46920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98503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73528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89039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43017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217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880165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</p:spPr>
        <p:txBody>
          <a:bodyPr lIns="91430" tIns="45715" rIns="91430" bIns="45715"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9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 dirty="0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5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097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sz="quarter" idx="12"/>
          </p:nvPr>
        </p:nvSpPr>
        <p:spPr>
          <a:xfrm>
            <a:off x="352802" y="249492"/>
            <a:ext cx="8460000" cy="43351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30" tIns="45715" rIns="91430" bIns="45715"/>
          <a:lstStyle>
            <a:lvl1pPr>
              <a:defRPr i="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icon to add picture</a:t>
            </a:r>
          </a:p>
        </p:txBody>
      </p:sp>
      <p:sp>
        <p:nvSpPr>
          <p:cNvPr id="6" name="Segnaposto testo 9"/>
          <p:cNvSpPr>
            <a:spLocks noGrp="1"/>
          </p:cNvSpPr>
          <p:nvPr>
            <p:ph type="body" sz="quarter" idx="13"/>
          </p:nvPr>
        </p:nvSpPr>
        <p:spPr>
          <a:xfrm>
            <a:off x="2555779" y="2571750"/>
            <a:ext cx="6257024" cy="1134126"/>
          </a:xfrm>
          <a:prstGeom prst="rect">
            <a:avLst/>
          </a:prstGeom>
          <a:solidFill>
            <a:srgbClr val="003264">
              <a:alpha val="80000"/>
            </a:srgbClr>
          </a:solidFill>
          <a:ln>
            <a:noFill/>
          </a:ln>
        </p:spPr>
        <p:txBody>
          <a:bodyPr lIns="80988" tIns="35094" rIns="80988" bIns="35094" anchor="ctr"/>
          <a:lstStyle>
            <a:lvl1pPr marL="269963" indent="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endParaRPr lang="pt-BR">
              <a:solidFill>
                <a:srgbClr val="004691"/>
              </a:solidFill>
            </a:endParaRP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87631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5669800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3810200" cy="828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610545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176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0"/>
            <a:ext cx="3076775" cy="12758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5897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418150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0754" y="1028699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0754" y="2638424"/>
            <a:ext cx="1153069" cy="8079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5" y="1048231"/>
            <a:ext cx="473412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680676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176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92" y="3423047"/>
            <a:ext cx="1590471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8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0475" y="1048231"/>
            <a:ext cx="3228975" cy="1285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97236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7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175" y="283327"/>
            <a:ext cx="5200850" cy="495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452042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3800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2422" y="1807121"/>
            <a:ext cx="5848562" cy="2130394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925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 err="1"/>
              <a:t>Tópico</a:t>
            </a:r>
            <a:endParaRPr lang="pt-BR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8218" y="4066598"/>
            <a:ext cx="2993738" cy="7155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2491133" y="3184052"/>
            <a:ext cx="470297" cy="498198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2925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00</a:t>
            </a:r>
            <a:endParaRPr lang="pt-BR" dirty="0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491133" y="2183291"/>
            <a:ext cx="470297" cy="1113765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2925" b="0" i="1">
                <a:solidFill>
                  <a:schemeClr val="bg1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dirty="0"/>
              <a:t>_</a:t>
            </a:r>
            <a:r>
              <a:rPr lang="en-US" dirty="0" err="1"/>
              <a:t>texto</a:t>
            </a:r>
            <a:endParaRPr lang="pt-BR" dirty="0"/>
          </a:p>
        </p:txBody>
      </p:sp>
      <p:sp>
        <p:nvSpPr>
          <p:cNvPr id="24" name="Vertical Text Placeholder 17">
            <a:extLst>
              <a:ext uri="{FF2B5EF4-FFF2-40B4-BE49-F238E27FC236}">
                <a16:creationId xmlns:a16="http://schemas.microsoft.com/office/drawing/2014/main" id="{B90F92DB-DFFF-8044-B330-1FDACBF6AC0F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8810625" y="283328"/>
            <a:ext cx="177432" cy="764903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6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dirty="0"/>
              <a:t>DIA . MÊS . 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34774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a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7764" y="1595063"/>
            <a:ext cx="3152407" cy="836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BD28C-7AA1-4CC1-A988-28927A93A75A}"/>
              </a:ext>
            </a:extLst>
          </p:cNvPr>
          <p:cNvSpPr txBox="1"/>
          <p:nvPr userDrawn="1"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3059470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95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04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103.xml"/><Relationship Id="rId9" Type="http://schemas.openxmlformats.org/officeDocument/2006/relationships/tags" Target="../tags/tag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11.xml"/><Relationship Id="rId10" Type="http://schemas.openxmlformats.org/officeDocument/2006/relationships/oleObject" Target="../embeddings/oleObject12.bin"/><Relationship Id="rId4" Type="http://schemas.openxmlformats.org/officeDocument/2006/relationships/slideLayout" Target="../slideLayouts/slideLayout110.xml"/><Relationship Id="rId9" Type="http://schemas.openxmlformats.org/officeDocument/2006/relationships/tags" Target="../tags/tag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23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6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E8625A36-D223-453B-BB42-7F4684F9E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56608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95" imgH="396" progId="TCLayout.ActiveDocument.1">
                  <p:embed/>
                </p:oleObj>
              </mc:Choice>
              <mc:Fallback>
                <p:oleObj name="Slide do think-cell" r:id="rId14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E8625A36-D223-453B-BB42-7F4684F9E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asellaDiTesto 10"/>
          <p:cNvSpPr txBox="1">
            <a:spLocks noChangeArrowheads="1"/>
          </p:cNvSpPr>
          <p:nvPr/>
        </p:nvSpPr>
        <p:spPr bwMode="auto">
          <a:xfrm>
            <a:off x="8472490" y="4839891"/>
            <a:ext cx="417512" cy="107722"/>
          </a:xfrm>
          <a:prstGeom prst="rect">
            <a:avLst/>
          </a:prstGeom>
          <a:noFill/>
          <a:ln>
            <a:noFill/>
          </a:ln>
        </p:spPr>
        <p:txBody>
          <a:bodyPr lIns="68571" tIns="0" rIns="68571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68569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57557E4-A33F-4F68-B3B9-5C4EC024384C}" type="slidenum">
              <a:rPr lang="pt-BR" sz="700" smtClean="0">
                <a:solidFill>
                  <a:srgbClr val="000000"/>
                </a:solidFill>
                <a:latin typeface="TIM Sans" panose="00000500000000000000" pitchFamily="50" charset="0"/>
              </a:rPr>
              <a:pPr algn="r" defTabSz="68569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700">
              <a:solidFill>
                <a:srgbClr val="000000"/>
              </a:solidFill>
              <a:latin typeface="TIM Sans" panose="00000500000000000000" pitchFamily="50" charset="0"/>
            </a:endParaRPr>
          </a:p>
        </p:txBody>
      </p:sp>
      <p:cxnSp>
        <p:nvCxnSpPr>
          <p:cNvPr id="16" name="Connettore 1 15"/>
          <p:cNvCxnSpPr/>
          <p:nvPr/>
        </p:nvCxnSpPr>
        <p:spPr>
          <a:xfrm>
            <a:off x="8528050" y="4763697"/>
            <a:ext cx="0" cy="195263"/>
          </a:xfrm>
          <a:prstGeom prst="line">
            <a:avLst/>
          </a:prstGeom>
          <a:ln w="6350" cmpd="sng">
            <a:solidFill>
              <a:srgbClr val="EB00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magine 7" descr="secondario_rgb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5" y="4786005"/>
            <a:ext cx="711719" cy="188435"/>
          </a:xfrm>
          <a:prstGeom prst="rect">
            <a:avLst/>
          </a:prstGeom>
        </p:spPr>
      </p:pic>
      <p:sp>
        <p:nvSpPr>
          <p:cNvPr id="12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8"/>
            <a:ext cx="4267200" cy="158353"/>
          </a:xfrm>
          <a:prstGeom prst="rect">
            <a:avLst/>
          </a:prstGeom>
        </p:spPr>
        <p:txBody>
          <a:bodyPr lIns="68571" tIns="34289" rIns="68571" bIns="34289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pPr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pt-BR">
              <a:solidFill>
                <a:srgbClr val="004691"/>
              </a:solidFill>
              <a:latin typeface="TIM Sans"/>
              <a:ea typeface="ＭＳ Ｐゴシック"/>
            </a:endParaRPr>
          </a:p>
        </p:txBody>
      </p:sp>
      <p:sp>
        <p:nvSpPr>
          <p:cNvPr id="13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4"/>
            <a:ext cx="4267200" cy="165497"/>
          </a:xfrm>
          <a:prstGeom prst="rect">
            <a:avLst/>
          </a:prstGeom>
        </p:spPr>
        <p:txBody>
          <a:bodyPr lIns="68571" tIns="34289" rIns="68571" bIns="34289"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pt-BR">
              <a:solidFill>
                <a:srgbClr val="000000">
                  <a:lumMod val="50000"/>
                  <a:lumOff val="50000"/>
                </a:srgbClr>
              </a:solidFill>
              <a:latin typeface="TIM Sans"/>
              <a:ea typeface="ＭＳ Ｐゴシック"/>
            </a:endParaRPr>
          </a:p>
        </p:txBody>
      </p:sp>
      <p:sp>
        <p:nvSpPr>
          <p:cNvPr id="2" name="MSIPCMcc0e450980ba15d5b5cfdc65" descr="{&quot;HashCode&quot;:-1097642540,&quot;Placement&quot;:&quot;Footer&quot;,&quot;Top&quot;:387.034332,&quot;Left&quot;:300.527649,&quot;SlideWidth&quot;:720,&quot;SlideHeight&quot;:405}"/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143592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93" r:id="rId11"/>
  </p:sldLayoutIdLst>
  <p:hf sldNum="0" hdr="0" ftr="0" dt="0"/>
  <p:txStyles>
    <p:titleStyle>
      <a:lvl1pPr algn="l" defTabSz="514277" rtl="0" eaLnBrk="1" latinLnBrk="0" hangingPunct="1">
        <a:lnSpc>
          <a:spcPct val="90000"/>
        </a:lnSpc>
        <a:spcBef>
          <a:spcPct val="0"/>
        </a:spcBef>
        <a:buNone/>
        <a:defRPr sz="1700" b="0" kern="1200">
          <a:solidFill>
            <a:schemeClr val="accent1"/>
          </a:solidFill>
          <a:latin typeface="TIM Sans Medium" panose="02020503040602060503" pitchFamily="18" charset="0"/>
          <a:ea typeface="+mj-ea"/>
          <a:cs typeface="+mj-cs"/>
        </a:defRPr>
      </a:lvl1pPr>
    </p:titleStyle>
    <p:bodyStyle>
      <a:lvl1pPr marL="0" indent="0" algn="l" defTabSz="514277" rtl="0" eaLnBrk="1" latinLnBrk="0" hangingPunct="1">
        <a:lnSpc>
          <a:spcPct val="120000"/>
        </a:lnSpc>
        <a:spcBef>
          <a:spcPts val="563"/>
        </a:spcBef>
        <a:buFontTx/>
        <a:buNone/>
        <a:defRPr sz="1400" kern="1200">
          <a:solidFill>
            <a:schemeClr val="accent5"/>
          </a:solidFill>
          <a:latin typeface="TIM Sans" panose="00000500000000000000" pitchFamily="2" charset="0"/>
          <a:ea typeface="+mn-ea"/>
          <a:cs typeface="+mn-cs"/>
        </a:defRPr>
      </a:lvl1pPr>
      <a:lvl2pPr marL="257138" indent="0" algn="l" defTabSz="514277" rtl="0" eaLnBrk="1" latinLnBrk="0" hangingPunct="1">
        <a:lnSpc>
          <a:spcPct val="120000"/>
        </a:lnSpc>
        <a:spcBef>
          <a:spcPts val="281"/>
        </a:spcBef>
        <a:buFontTx/>
        <a:buNone/>
        <a:defRPr sz="1200" kern="1200">
          <a:solidFill>
            <a:schemeClr val="accent5"/>
          </a:solidFill>
          <a:latin typeface="TIM Sans" panose="00000500000000000000" pitchFamily="2" charset="0"/>
          <a:ea typeface="+mn-ea"/>
          <a:cs typeface="+mn-cs"/>
        </a:defRPr>
      </a:lvl2pPr>
      <a:lvl3pPr marL="514277" indent="0" algn="l" defTabSz="514277" rtl="0" eaLnBrk="1" latinLnBrk="0" hangingPunct="1">
        <a:lnSpc>
          <a:spcPct val="120000"/>
        </a:lnSpc>
        <a:spcBef>
          <a:spcPts val="281"/>
        </a:spcBef>
        <a:buFontTx/>
        <a:buNone/>
        <a:defRPr sz="1100" kern="1200">
          <a:solidFill>
            <a:schemeClr val="accent5"/>
          </a:solidFill>
          <a:latin typeface="TIM Sans" panose="00000500000000000000" pitchFamily="2" charset="0"/>
          <a:ea typeface="+mn-ea"/>
          <a:cs typeface="+mn-cs"/>
        </a:defRPr>
      </a:lvl3pPr>
      <a:lvl4pPr marL="899978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114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253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386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525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664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38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277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11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547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683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818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955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093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0173943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395" imgH="396" progId="TCLayout.ActiveDocument.1">
                  <p:embed/>
                </p:oleObj>
              </mc:Choice>
              <mc:Fallback>
                <p:oleObj name="Slide do think-cell" r:id="rId1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2B0441F0-7106-6E70-1289-EC0E7E812902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140499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6" r:id="rId1"/>
    <p:sldLayoutId id="2147485027" r:id="rId2"/>
    <p:sldLayoutId id="2147485028" r:id="rId3"/>
    <p:sldLayoutId id="2147485029" r:id="rId4"/>
    <p:sldLayoutId id="2147485030" r:id="rId5"/>
    <p:sldLayoutId id="2147485031" r:id="rId6"/>
    <p:sldLayoutId id="2147485032" r:id="rId7"/>
    <p:sldLayoutId id="2147485033" r:id="rId8"/>
    <p:sldLayoutId id="2147485034" r:id="rId9"/>
    <p:sldLayoutId id="2147485035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54475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2" imgW="395" imgH="396" progId="TCLayout.ActiveDocument.1">
                  <p:embed/>
                </p:oleObj>
              </mc:Choice>
              <mc:Fallback>
                <p:oleObj name="Slide do think-cell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D81DAA76-E439-1E79-67A8-C95647FEDD85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206213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  <p:sldLayoutId id="2147485042" r:id="rId6"/>
    <p:sldLayoutId id="2147485043" r:id="rId7"/>
    <p:sldLayoutId id="2147485044" r:id="rId8"/>
    <p:sldLayoutId id="2147485046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5836280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0" imgW="395" imgH="396" progId="TCLayout.ActiveDocument.1">
                  <p:embed/>
                </p:oleObj>
              </mc:Choice>
              <mc:Fallback>
                <p:oleObj name="Slide do think-cell" r:id="rId10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B41404AD-F7D8-A7D1-DC7C-E700A64471B7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4269961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8" r:id="rId1"/>
    <p:sldLayoutId id="2147485049" r:id="rId2"/>
    <p:sldLayoutId id="2147485050" r:id="rId3"/>
    <p:sldLayoutId id="2147485051" r:id="rId4"/>
    <p:sldLayoutId id="2147485052" r:id="rId5"/>
    <p:sldLayoutId id="2147485053" r:id="rId6"/>
    <p:sldLayoutId id="2147485054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5103663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0" imgW="395" imgH="396" progId="TCLayout.ActiveDocument.1">
                  <p:embed/>
                </p:oleObj>
              </mc:Choice>
              <mc:Fallback>
                <p:oleObj name="Slide do think-cell" r:id="rId10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005DF4AD-C19B-8DAD-6313-0F723D32963B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302375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5057" r:id="rId2"/>
    <p:sldLayoutId id="2147485058" r:id="rId3"/>
    <p:sldLayoutId id="2147485059" r:id="rId4"/>
    <p:sldLayoutId id="2147485060" r:id="rId5"/>
    <p:sldLayoutId id="2147485061" r:id="rId6"/>
    <p:sldLayoutId id="2147485062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E95EFF-D411-435F-BB42-D8B5533E2A17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2C967B38-3000-8FDE-E7E0-4CCE01A3D646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640864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4" r:id="rId1"/>
    <p:sldLayoutId id="2147485065" r:id="rId2"/>
    <p:sldLayoutId id="2147485066" r:id="rId3"/>
    <p:sldLayoutId id="2147485067" r:id="rId4"/>
    <p:sldLayoutId id="2147485068" r:id="rId5"/>
    <p:sldLayoutId id="2147485069" r:id="rId6"/>
    <p:sldLayoutId id="2147485070" r:id="rId7"/>
    <p:sldLayoutId id="2147485071" r:id="rId8"/>
    <p:sldLayoutId id="2147485072" r:id="rId9"/>
    <p:sldLayoutId id="2147485073" r:id="rId10"/>
    <p:sldLayoutId id="2147485074" r:id="rId11"/>
    <p:sldLayoutId id="2147485075" r:id="rId12"/>
    <p:sldLayoutId id="2147485076" r:id="rId13"/>
    <p:sldLayoutId id="2147485077" r:id="rId14"/>
    <p:sldLayoutId id="2147485078" r:id="rId15"/>
    <p:sldLayoutId id="2147485079" r:id="rId16"/>
    <p:sldLayoutId id="2147485080" r:id="rId17"/>
    <p:sldLayoutId id="2147485081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E7C860BF-00CF-3CC4-3039-0AFBFDD50BD7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2920139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3" r:id="rId1"/>
    <p:sldLayoutId id="2147485084" r:id="rId2"/>
    <p:sldLayoutId id="2147485085" r:id="rId3"/>
    <p:sldLayoutId id="2147485086" r:id="rId4"/>
    <p:sldLayoutId id="2147485087" r:id="rId5"/>
    <p:sldLayoutId id="2147485088" r:id="rId6"/>
    <p:sldLayoutId id="2147485089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BFC44E3D-E679-988F-46D3-5F9D96A82976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4243304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5" r:id="rId1"/>
    <p:sldLayoutId id="2147485096" r:id="rId2"/>
    <p:sldLayoutId id="2147485098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56AD934-A416-6455-A656-A26594A8EAF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103465" y="4909185"/>
            <a:ext cx="953691" cy="92333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600">
                <a:solidFill>
                  <a:srgbClr val="7373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53287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0" r:id="rId1"/>
    <p:sldLayoutId id="2147485101" r:id="rId2"/>
    <p:sldLayoutId id="2147485102" r:id="rId3"/>
    <p:sldLayoutId id="2147485103" r:id="rId4"/>
    <p:sldLayoutId id="2147485104" r:id="rId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0278936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395" imgH="396" progId="TCLayout.ActiveDocument.1">
                  <p:embed/>
                </p:oleObj>
              </mc:Choice>
              <mc:Fallback>
                <p:oleObj name="Slide do think-cell" r:id="rId1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D0229FD2-1057-94B5-E649-FAED3B136C98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2965184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  <p:sldLayoutId id="2147484948" r:id="rId4"/>
    <p:sldLayoutId id="2147484949" r:id="rId5"/>
    <p:sldLayoutId id="2147484950" r:id="rId6"/>
    <p:sldLayoutId id="2147484951" r:id="rId7"/>
    <p:sldLayoutId id="2147484952" r:id="rId8"/>
    <p:sldLayoutId id="2147484953" r:id="rId9"/>
    <p:sldLayoutId id="2147484954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06881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2" imgW="395" imgH="396" progId="TCLayout.ActiveDocument.1">
                  <p:embed/>
                </p:oleObj>
              </mc:Choice>
              <mc:Fallback>
                <p:oleObj name="Slide do think-cell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6CEE1C08-6EF7-34CE-AFB3-87F7CB47F5B5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026635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6" r:id="rId1"/>
    <p:sldLayoutId id="2147484957" r:id="rId2"/>
    <p:sldLayoutId id="2147484958" r:id="rId3"/>
    <p:sldLayoutId id="2147484959" r:id="rId4"/>
    <p:sldLayoutId id="2147484960" r:id="rId5"/>
    <p:sldLayoutId id="2147484961" r:id="rId6"/>
    <p:sldLayoutId id="2147484962" r:id="rId7"/>
    <p:sldLayoutId id="2147484963" r:id="rId8"/>
    <p:sldLayoutId id="2147484965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513966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395" imgH="396" progId="TCLayout.ActiveDocument.1">
                  <p:embed/>
                </p:oleObj>
              </mc:Choice>
              <mc:Fallback>
                <p:oleObj name="Slide do think-cell" r:id="rId1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E7BDB617-4417-BF23-B151-8631A91595AE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4218027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7" r:id="rId1"/>
    <p:sldLayoutId id="2147484968" r:id="rId2"/>
    <p:sldLayoutId id="2147484969" r:id="rId3"/>
    <p:sldLayoutId id="2147484970" r:id="rId4"/>
    <p:sldLayoutId id="2147484971" r:id="rId5"/>
    <p:sldLayoutId id="2147484972" r:id="rId6"/>
    <p:sldLayoutId id="2147484973" r:id="rId7"/>
    <p:sldLayoutId id="2147484974" r:id="rId8"/>
    <p:sldLayoutId id="2147484975" r:id="rId9"/>
    <p:sldLayoutId id="2147484976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960298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2" imgW="395" imgH="396" progId="TCLayout.ActiveDocument.1">
                  <p:embed/>
                </p:oleObj>
              </mc:Choice>
              <mc:Fallback>
                <p:oleObj name="Slide do think-cell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E751F105-17C9-B2F3-0DB0-D784BEFE941A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42843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8" r:id="rId1"/>
    <p:sldLayoutId id="2147484979" r:id="rId2"/>
    <p:sldLayoutId id="2147484980" r:id="rId3"/>
    <p:sldLayoutId id="2147484981" r:id="rId4"/>
    <p:sldLayoutId id="2147484982" r:id="rId5"/>
    <p:sldLayoutId id="2147484983" r:id="rId6"/>
    <p:sldLayoutId id="2147484984" r:id="rId7"/>
    <p:sldLayoutId id="2147484985" r:id="rId8"/>
    <p:sldLayoutId id="2147484987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717427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395" imgH="396" progId="TCLayout.ActiveDocument.1">
                  <p:embed/>
                </p:oleObj>
              </mc:Choice>
              <mc:Fallback>
                <p:oleObj name="Slide do think-cell" r:id="rId1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1435272D-5E62-87C8-BFF7-D810A6109C9F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1797037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9" r:id="rId1"/>
    <p:sldLayoutId id="2147484990" r:id="rId2"/>
    <p:sldLayoutId id="2147484991" r:id="rId3"/>
    <p:sldLayoutId id="2147484992" r:id="rId4"/>
    <p:sldLayoutId id="2147484993" r:id="rId5"/>
    <p:sldLayoutId id="2147484994" r:id="rId6"/>
    <p:sldLayoutId id="2147484995" r:id="rId7"/>
    <p:sldLayoutId id="2147484996" r:id="rId8"/>
    <p:sldLayoutId id="2147484997" r:id="rId9"/>
    <p:sldLayoutId id="2147484998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509218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2" imgW="395" imgH="396" progId="TCLayout.ActiveDocument.1">
                  <p:embed/>
                </p:oleObj>
              </mc:Choice>
              <mc:Fallback>
                <p:oleObj name="Slide do think-cell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48636ABF-114E-7F9C-8492-57CE81CA83D0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262171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0" r:id="rId1"/>
    <p:sldLayoutId id="2147485001" r:id="rId2"/>
    <p:sldLayoutId id="2147485002" r:id="rId3"/>
    <p:sldLayoutId id="2147485003" r:id="rId4"/>
    <p:sldLayoutId id="2147485004" r:id="rId5"/>
    <p:sldLayoutId id="2147485005" r:id="rId6"/>
    <p:sldLayoutId id="2147485006" r:id="rId7"/>
    <p:sldLayoutId id="2147485007" r:id="rId8"/>
    <p:sldLayoutId id="2147485009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3E0742-A9F9-4B80-94BD-FAFB5A520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639678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2" imgW="395" imgH="396" progId="TCLayout.ActiveDocument.1">
                  <p:embed/>
                </p:oleObj>
              </mc:Choice>
              <mc:Fallback>
                <p:oleObj name="Slide do think-cell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3E0742-A9F9-4B80-94BD-FAFB5A520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323BF021-7FB5-0246-A576-A7C04D60C8C1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891548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1" r:id="rId1"/>
    <p:sldLayoutId id="2147485012" r:id="rId2"/>
    <p:sldLayoutId id="2147485013" r:id="rId3"/>
    <p:sldLayoutId id="2147485014" r:id="rId4"/>
    <p:sldLayoutId id="2147485015" r:id="rId5"/>
    <p:sldLayoutId id="2147485016" r:id="rId6"/>
    <p:sldLayoutId id="2147485017" r:id="rId7"/>
    <p:sldLayoutId id="2147485018" r:id="rId8"/>
    <p:sldLayoutId id="2147485020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097642540,&quot;Placement&quot;:&quot;Footer&quot;,&quot;Top&quot;:387.034332,&quot;Left&quot;:300.527649,&quot;SlideWidth&quot;:720,&quot;SlideHeight&quot;:405}">
            <a:extLst>
              <a:ext uri="{FF2B5EF4-FFF2-40B4-BE49-F238E27FC236}">
                <a16:creationId xmlns:a16="http://schemas.microsoft.com/office/drawing/2014/main" id="{98632421-0BB2-CAA0-2FCE-14007AD1FF6E}"/>
              </a:ext>
            </a:extLst>
          </p:cNvPr>
          <p:cNvSpPr txBox="1"/>
          <p:nvPr userDrawn="1"/>
        </p:nvSpPr>
        <p:spPr>
          <a:xfrm>
            <a:off x="3816701" y="4915336"/>
            <a:ext cx="15105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Uso Interno</a:t>
            </a:r>
          </a:p>
        </p:txBody>
      </p:sp>
    </p:spTree>
    <p:extLst>
      <p:ext uri="{BB962C8B-B14F-4D97-AF65-F5344CB8AC3E}">
        <p14:creationId xmlns:p14="http://schemas.microsoft.com/office/powerpoint/2010/main" val="3278527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microsoft.com/office/2007/relationships/hdphoto" Target="../media/hdphoto1.wdp"/><Relationship Id="rId7" Type="http://schemas.openxmlformats.org/officeDocument/2006/relationships/image" Target="../media/image9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5.xml"/><Relationship Id="rId6" Type="http://schemas.openxmlformats.org/officeDocument/2006/relationships/slide" Target="slide4.xml"/><Relationship Id="rId5" Type="http://schemas.openxmlformats.org/officeDocument/2006/relationships/image" Target="../media/image9.png"/><Relationship Id="rId10" Type="http://schemas.openxmlformats.org/officeDocument/2006/relationships/image" Target="../media/image100.png"/><Relationship Id="rId4" Type="http://schemas.openxmlformats.org/officeDocument/2006/relationships/image" Target="../media/image7.emf"/><Relationship Id="rId9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slide" Target="slide2.xml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6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Relationship Id="rId1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45.xml"/><Relationship Id="rId7" Type="http://schemas.openxmlformats.org/officeDocument/2006/relationships/slide" Target="slide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8.png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.emf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0FF0639-2CEE-5341-BDA7-3821F3241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5060" y="1595064"/>
            <a:ext cx="3152407" cy="83635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6B916A5-E1F2-4B57-87B2-027EA23D9299}"/>
              </a:ext>
            </a:extLst>
          </p:cNvPr>
          <p:cNvSpPr/>
          <p:nvPr/>
        </p:nvSpPr>
        <p:spPr>
          <a:xfrm>
            <a:off x="4005081" y="4906803"/>
            <a:ext cx="483076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pt-BR" sz="600" b="1" dirty="0">
                <a:solidFill>
                  <a:prstClr val="white"/>
                </a:solidFill>
                <a:latin typeface="TIM Sans Heavy" pitchFamily="2" charset="77"/>
                <a:ea typeface="+mn-ea"/>
              </a:rPr>
              <a:t> </a:t>
            </a:r>
            <a:r>
              <a:rPr lang="pt-BR" sz="600" dirty="0">
                <a:solidFill>
                  <a:prstClr val="white"/>
                </a:solidFill>
                <a:latin typeface="TIM Sans Medium" pitchFamily="2" charset="77"/>
                <a:ea typeface="+mn-ea"/>
              </a:rPr>
              <a:t>O conteúdo desse material só deve ser compartilhado com autorização.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BB8CB122-E21C-4130-8E0C-1DAED0FF6B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2538" y="2681843"/>
            <a:ext cx="4798187" cy="967103"/>
          </a:xfrm>
        </p:spPr>
        <p:txBody>
          <a:bodyPr>
            <a:noAutofit/>
          </a:bodyPr>
          <a:lstStyle/>
          <a:p>
            <a:r>
              <a:rPr lang="pt-BR" sz="2000" b="1" dirty="0"/>
              <a:t>Principais Atividades e Temas - 2023</a:t>
            </a:r>
          </a:p>
          <a:p>
            <a:r>
              <a:rPr lang="pt-BR" sz="1400" dirty="0"/>
              <a:t>Conselho de Usuários </a:t>
            </a:r>
            <a:endParaRPr lang="pt-BR" sz="2000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4504F849-EDF1-44B3-B485-1472F4DD18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7389" y="4550310"/>
            <a:ext cx="3930757" cy="181680"/>
          </a:xfrm>
        </p:spPr>
        <p:txBody>
          <a:bodyPr>
            <a:normAutofit fontScale="55000" lnSpcReduction="20000"/>
          </a:bodyPr>
          <a:lstStyle/>
          <a:p>
            <a:r>
              <a:rPr lang="pt-BR" sz="1200" dirty="0"/>
              <a:t>Março/2024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B06B83D-0421-4FEA-9410-CF306A04CA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7389" y="4262278"/>
            <a:ext cx="4399067" cy="289426"/>
          </a:xfrm>
        </p:spPr>
        <p:txBody>
          <a:bodyPr>
            <a:normAutofit/>
          </a:bodyPr>
          <a:lstStyle/>
          <a:p>
            <a:r>
              <a:rPr lang="pt-BR" sz="1400" b="1" dirty="0">
                <a:latin typeface="TIM Sans Light" panose="00000400000000000000" pitchFamily="2" charset="0"/>
              </a:rPr>
              <a:t>Ouvidoria</a:t>
            </a:r>
          </a:p>
        </p:txBody>
      </p:sp>
    </p:spTree>
    <p:extLst>
      <p:ext uri="{BB962C8B-B14F-4D97-AF65-F5344CB8AC3E}">
        <p14:creationId xmlns:p14="http://schemas.microsoft.com/office/powerpoint/2010/main" val="4169481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12">
            <a:extLst>
              <a:ext uri="{FF2B5EF4-FFF2-40B4-BE49-F238E27FC236}">
                <a16:creationId xmlns:a16="http://schemas.microsoft.com/office/drawing/2014/main" id="{8BC5D4F3-B49E-03E0-3C42-862F164F7AA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840DD"/>
              </a:clrFrom>
              <a:clrTo>
                <a:srgbClr val="0840DD">
                  <a:alpha val="0"/>
                </a:srgbClr>
              </a:clrTo>
            </a:clrChange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aintBrush trans="74000" brushSize="4"/>
                    </a14:imgEffect>
                    <a14:imgEffect>
                      <a14:sharpenSoften amount="-17000"/>
                    </a14:imgEffect>
                    <a14:imgEffect>
                      <a14:colorTemperature colorTemp="6811"/>
                    </a14:imgEffect>
                    <a14:imgEffect>
                      <a14:saturation sat="302000"/>
                    </a14:imgEffect>
                    <a14:imgEffect>
                      <a14:brightnessContrast bright="51000" contrast="1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21889" y="0"/>
            <a:ext cx="9187777" cy="5143500"/>
          </a:xfrm>
          <a:prstGeom prst="rect">
            <a:avLst/>
          </a:prstGeom>
          <a:solidFill>
            <a:srgbClr val="0225D7"/>
          </a:solidFill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1604971-CF2D-8A41-9541-D6F1FD0A5C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50112" y="198980"/>
            <a:ext cx="386384" cy="323597"/>
          </a:xfrm>
          <a:prstGeom prst="rect">
            <a:avLst/>
          </a:prstGeom>
        </p:spPr>
      </p:pic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18F70254-901D-4A47-A129-3BCB95335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>
                <a:solidFill>
                  <a:srgbClr val="FFFFFF"/>
                </a:solidFill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pt-BR">
              <a:solidFill>
                <a:srgbClr val="FFFFFF"/>
              </a:solidFill>
              <a:ea typeface="+mn-ea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7E375A7-ECE1-76DB-18B0-DAA96BF89C96}"/>
              </a:ext>
            </a:extLst>
          </p:cNvPr>
          <p:cNvSpPr txBox="1">
            <a:spLocks/>
          </p:cNvSpPr>
          <p:nvPr/>
        </p:nvSpPr>
        <p:spPr>
          <a:xfrm>
            <a:off x="71578" y="133587"/>
            <a:ext cx="7009491" cy="495203"/>
          </a:xfrm>
          <a:prstGeom prst="rect">
            <a:avLst/>
          </a:prstGeom>
        </p:spPr>
        <p:txBody>
          <a:bodyPr vert="horz" lIns="68580" tIns="34290" rIns="68580" bIns="34290" rtlCol="0" anchor="t">
            <a:normAutofit fontScale="850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i="1" kern="1200">
                <a:solidFill>
                  <a:srgbClr val="0000FF"/>
                </a:solidFill>
                <a:latin typeface="TIM Sans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r>
              <a:rPr lang="pt-BR" sz="2400" dirty="0">
                <a:solidFill>
                  <a:schemeClr val="bg1"/>
                </a:solidFill>
              </a:rPr>
              <a:t>Conselho de Usuários TIM: Principais Atividades e Temas 2023</a:t>
            </a:r>
          </a:p>
        </p:txBody>
      </p:sp>
      <p:sp>
        <p:nvSpPr>
          <p:cNvPr id="5" name="Slide Number Placeholder 39">
            <a:extLst>
              <a:ext uri="{FF2B5EF4-FFF2-40B4-BE49-F238E27FC236}">
                <a16:creationId xmlns:a16="http://schemas.microsoft.com/office/drawing/2014/main" id="{B7021480-2DF2-E24B-DC98-5C993D9E694A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pt-BR" sz="900">
              <a:solidFill>
                <a:srgbClr val="FFFFFF"/>
              </a:solidFill>
            </a:endParaRPr>
          </a:p>
        </p:txBody>
      </p:sp>
      <p:sp>
        <p:nvSpPr>
          <p:cNvPr id="8" name="Slide Number Placeholder 39">
            <a:extLst>
              <a:ext uri="{FF2B5EF4-FFF2-40B4-BE49-F238E27FC236}">
                <a16:creationId xmlns:a16="http://schemas.microsoft.com/office/drawing/2014/main" id="{03A70805-E9B1-9556-F93C-341B4F0D6F36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pt-BR" sz="900">
              <a:solidFill>
                <a:srgbClr val="FFFFFF"/>
              </a:solidFill>
            </a:endParaRPr>
          </a:p>
        </p:txBody>
      </p:sp>
      <p:sp>
        <p:nvSpPr>
          <p:cNvPr id="20" name="Rectangle 59">
            <a:extLst>
              <a:ext uri="{FF2B5EF4-FFF2-40B4-BE49-F238E27FC236}">
                <a16:creationId xmlns:a16="http://schemas.microsoft.com/office/drawing/2014/main" id="{C763E630-EA2C-97CE-910F-F38C2A5BD02D}"/>
              </a:ext>
            </a:extLst>
          </p:cNvPr>
          <p:cNvSpPr/>
          <p:nvPr/>
        </p:nvSpPr>
        <p:spPr>
          <a:xfrm>
            <a:off x="4034965" y="4988938"/>
            <a:ext cx="483076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00" b="1" dirty="0">
                <a:solidFill>
                  <a:srgbClr val="FFFFFF"/>
                </a:solidFill>
                <a:latin typeface="TIM Sans Heavy" pitchFamily="2" charset="77"/>
                <a:ea typeface="+mn-ea"/>
              </a:rPr>
              <a:t> </a:t>
            </a:r>
            <a:r>
              <a:rPr lang="pt-BR" sz="600" dirty="0">
                <a:solidFill>
                  <a:srgbClr val="FFFFFF"/>
                </a:solidFill>
                <a:latin typeface="TIM Sans Medium" pitchFamily="2" charset="77"/>
                <a:ea typeface="+mn-ea"/>
              </a:rPr>
              <a:t>O conteúdo desse material só deve ser compartilhado com autorização.</a:t>
            </a:r>
          </a:p>
        </p:txBody>
      </p:sp>
      <p:sp>
        <p:nvSpPr>
          <p:cNvPr id="26" name="Retângulo: Cantos Arredondados 69">
            <a:extLst>
              <a:ext uri="{FF2B5EF4-FFF2-40B4-BE49-F238E27FC236}">
                <a16:creationId xmlns:a16="http://schemas.microsoft.com/office/drawing/2014/main" id="{A6D6A7E2-9393-22A7-F5CD-DB706B00A080}"/>
              </a:ext>
            </a:extLst>
          </p:cNvPr>
          <p:cNvSpPr/>
          <p:nvPr/>
        </p:nvSpPr>
        <p:spPr>
          <a:xfrm>
            <a:off x="104547" y="2903210"/>
            <a:ext cx="2106000" cy="161999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Principais Temas Tratados</a:t>
            </a:r>
          </a:p>
        </p:txBody>
      </p:sp>
      <p:sp>
        <p:nvSpPr>
          <p:cNvPr id="27" name="Retângulo 1">
            <a:extLst>
              <a:ext uri="{FF2B5EF4-FFF2-40B4-BE49-F238E27FC236}">
                <a16:creationId xmlns:a16="http://schemas.microsoft.com/office/drawing/2014/main" id="{CED92F37-B88B-BB0F-2975-8286A49EC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8520" y="3107191"/>
            <a:ext cx="3886270" cy="191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Cobertura, Expansão e Qualidade de Rede</a:t>
            </a:r>
          </a:p>
          <a:p>
            <a:pPr marL="627063" lvl="3" indent="-177800" defTabSz="685800" fontAlgn="auto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Investimentos, </a:t>
            </a:r>
            <a:r>
              <a:rPr lang="pt-BR" sz="900" dirty="0" err="1">
                <a:solidFill>
                  <a:schemeClr val="bg1"/>
                </a:solidFill>
                <a:latin typeface="TIM Sans"/>
                <a:ea typeface="+mn-ea"/>
              </a:rPr>
              <a:t>ConectarAgro</a:t>
            </a: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 e implementação 5G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IOT- Foco no agronegócio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Planos e ofertas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Ouvidoria TIM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Qualidade e digitalização do Atendimento – URA Cognitiva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Implementação do código 0304: Ligações de cobrança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Indicadores SINDEC, Consumidor.gov.br e Anatel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Projetos sociais apoiados pela TIM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Lei das antenas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TAC Anatel</a:t>
            </a:r>
          </a:p>
          <a:p>
            <a:pPr marL="628634" lvl="2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pt-BR" sz="900" dirty="0">
              <a:solidFill>
                <a:schemeClr val="bg1"/>
              </a:solidFill>
              <a:latin typeface="TIM Sans"/>
              <a:ea typeface="+mn-ea"/>
            </a:endParaRPr>
          </a:p>
          <a:p>
            <a:pPr marL="628634" lvl="2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pt-BR" sz="900" dirty="0">
              <a:solidFill>
                <a:schemeClr val="bg1"/>
              </a:solidFill>
              <a:latin typeface="TIM Sans"/>
              <a:ea typeface="+mn-ea"/>
            </a:endParaRPr>
          </a:p>
        </p:txBody>
      </p:sp>
      <p:cxnSp>
        <p:nvCxnSpPr>
          <p:cNvPr id="2" name="Conector reto 68">
            <a:extLst>
              <a:ext uri="{FF2B5EF4-FFF2-40B4-BE49-F238E27FC236}">
                <a16:creationId xmlns:a16="http://schemas.microsoft.com/office/drawing/2014/main" id="{8F79D6F2-3608-1E5B-8B0A-622D03288B35}"/>
              </a:ext>
            </a:extLst>
          </p:cNvPr>
          <p:cNvCxnSpPr>
            <a:cxnSpLocks/>
          </p:cNvCxnSpPr>
          <p:nvPr/>
        </p:nvCxnSpPr>
        <p:spPr>
          <a:xfrm>
            <a:off x="2114698" y="2256020"/>
            <a:ext cx="1188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tângulo: Cantos Arredondados 69">
            <a:extLst>
              <a:ext uri="{FF2B5EF4-FFF2-40B4-BE49-F238E27FC236}">
                <a16:creationId xmlns:a16="http://schemas.microsoft.com/office/drawing/2014/main" id="{5444C229-6372-8116-6072-4B1AB26199A1}"/>
              </a:ext>
            </a:extLst>
          </p:cNvPr>
          <p:cNvSpPr/>
          <p:nvPr/>
        </p:nvSpPr>
        <p:spPr>
          <a:xfrm>
            <a:off x="4564922" y="757166"/>
            <a:ext cx="2095310" cy="15840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Principais Sugestões Tratadas</a:t>
            </a:r>
          </a:p>
        </p:txBody>
      </p:sp>
      <p:sp>
        <p:nvSpPr>
          <p:cNvPr id="4" name="Retângulo 1">
            <a:extLst>
              <a:ext uri="{FF2B5EF4-FFF2-40B4-BE49-F238E27FC236}">
                <a16:creationId xmlns:a16="http://schemas.microsoft.com/office/drawing/2014/main" id="{68368DF5-963D-D5E9-DFA1-14827858D9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1962" y="941262"/>
            <a:ext cx="4824534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Melhoria de cobertura e qualidade do sinal </a:t>
            </a:r>
          </a:p>
          <a:p>
            <a:pPr marL="625475" lvl="3" indent="-171450" defTabSz="685800" fontAlgn="auto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municípios das regiões Norte, Nordeste e Centro-Oeste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Acompanhamento da cobertura/expansão da Rede em Rodovias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Esclarecimentos sobre planos e serviços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Esclarecimentos sobre acessibilidade</a:t>
            </a:r>
          </a:p>
          <a:p>
            <a:pPr marL="405000" lvl="2" indent="-171446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Ampliação do CDC em Braille e áudio nas Lojas TIM, </a:t>
            </a:r>
            <a:r>
              <a:rPr lang="pt-BR" sz="900" dirty="0" err="1">
                <a:solidFill>
                  <a:schemeClr val="bg1"/>
                </a:solidFill>
                <a:latin typeface="TIM Sans"/>
                <a:ea typeface="+mn-ea"/>
              </a:rPr>
              <a:t>PROCONs</a:t>
            </a:r>
            <a:r>
              <a:rPr lang="pt-BR" sz="900" dirty="0">
                <a:solidFill>
                  <a:schemeClr val="bg1"/>
                </a:solidFill>
                <a:latin typeface="TIM Sans"/>
                <a:ea typeface="+mn-ea"/>
              </a:rPr>
              <a:t>  e entidades integrantes do Conselho de Usuários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669566AD-D27C-9FC5-8595-41BB5C0CC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7984" y="2365103"/>
            <a:ext cx="4104457" cy="99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28588" lvl="1" indent="-128588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pt-BR" sz="900" dirty="0">
              <a:solidFill>
                <a:schemeClr val="bg1"/>
              </a:solidFill>
              <a:latin typeface="TIM Sans" panose="00000500000000000000" pitchFamily="2" charset="0"/>
              <a:ea typeface="+mn-ea"/>
            </a:endParaRP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 TIM </a:t>
            </a:r>
            <a:r>
              <a:rPr lang="pt-BR" sz="900" dirty="0" err="1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Lab</a:t>
            </a: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 – São </a:t>
            </a:r>
            <a:r>
              <a:rPr lang="pt-BR" sz="900" dirty="0" err="1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Cristovão</a:t>
            </a:r>
            <a:endParaRPr lang="pt-BR" sz="900" dirty="0">
              <a:solidFill>
                <a:schemeClr val="bg1"/>
              </a:solidFill>
              <a:latin typeface="TIM Sans" panose="00000500000000000000" pitchFamily="2" charset="0"/>
              <a:ea typeface="+mn-ea"/>
            </a:endParaRP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Centro de Monitoramento TIM – Gamboa</a:t>
            </a: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Loja Conceito TIM  Shopping Recife</a:t>
            </a: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Ato de ampliação CDC em Braile e áudio </a:t>
            </a:r>
          </a:p>
          <a:p>
            <a:pPr marL="358775" lvl="2" indent="-171450" defTabSz="449263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Loja Própria Shopping Recife</a:t>
            </a:r>
          </a:p>
        </p:txBody>
      </p:sp>
      <p:sp>
        <p:nvSpPr>
          <p:cNvPr id="12" name="Retângulo: Cantos Arredondados 69">
            <a:extLst>
              <a:ext uri="{FF2B5EF4-FFF2-40B4-BE49-F238E27FC236}">
                <a16:creationId xmlns:a16="http://schemas.microsoft.com/office/drawing/2014/main" id="{9B39D56D-D5A0-25EF-13DF-285ACE4CB830}"/>
              </a:ext>
            </a:extLst>
          </p:cNvPr>
          <p:cNvSpPr/>
          <p:nvPr/>
        </p:nvSpPr>
        <p:spPr>
          <a:xfrm>
            <a:off x="4514629" y="2355726"/>
            <a:ext cx="2145603" cy="15840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Participação Eventos Internos</a:t>
            </a:r>
          </a:p>
        </p:txBody>
      </p:sp>
      <p:cxnSp>
        <p:nvCxnSpPr>
          <p:cNvPr id="28" name="Conector reto 68">
            <a:extLst>
              <a:ext uri="{FF2B5EF4-FFF2-40B4-BE49-F238E27FC236}">
                <a16:creationId xmlns:a16="http://schemas.microsoft.com/office/drawing/2014/main" id="{1FAB06EC-C26E-B185-E31B-182C2C8EEC66}"/>
              </a:ext>
            </a:extLst>
          </p:cNvPr>
          <p:cNvCxnSpPr>
            <a:cxnSpLocks/>
          </p:cNvCxnSpPr>
          <p:nvPr/>
        </p:nvCxnSpPr>
        <p:spPr>
          <a:xfrm>
            <a:off x="6552352" y="2500186"/>
            <a:ext cx="2160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ângulo 1">
            <a:extLst>
              <a:ext uri="{FF2B5EF4-FFF2-40B4-BE49-F238E27FC236}">
                <a16:creationId xmlns:a16="http://schemas.microsoft.com/office/drawing/2014/main" id="{92B09197-1DCB-571A-5400-44D213BC8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7984" y="3572572"/>
            <a:ext cx="4657234" cy="1151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IX Fórum Nacional de Conselhos de Usuários</a:t>
            </a: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  <a:cs typeface="Calibri" panose="020F0502020204030204" pitchFamily="34" charset="0"/>
              </a:rPr>
              <a:t>Transformação digital: </a:t>
            </a:r>
          </a:p>
          <a:p>
            <a:pPr marL="361950" lvl="2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  <a:cs typeface="Calibri" panose="020F0502020204030204" pitchFamily="34" charset="0"/>
              </a:rPr>
              <a:t>conectividade significativa e relações de consumo no Brasil cada vez mais conectado</a:t>
            </a: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Encontros da Anatel com entidades de defesa do consumidor em diversos estados</a:t>
            </a:r>
            <a:endParaRPr lang="pt-BR" sz="900" dirty="0">
              <a:solidFill>
                <a:schemeClr val="bg1"/>
              </a:solidFill>
              <a:latin typeface="TIM Sans" panose="00000500000000000000" pitchFamily="2" charset="0"/>
              <a:ea typeface="+mn-ea"/>
              <a:cs typeface="Calibri" panose="020F0502020204030204" pitchFamily="34" charset="0"/>
            </a:endParaRP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  <a:cs typeface="Calibri" panose="020F0502020204030204" pitchFamily="34" charset="0"/>
              </a:rPr>
              <a:t>I Fórum de Telecomunicações - Comissão Especial de Defesa do Consumidor da OAB/RS e ANATEL</a:t>
            </a:r>
          </a:p>
          <a:p>
            <a:pPr marL="171450" lvl="1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  <a:cs typeface="Calibri" panose="020F0502020204030204" pitchFamily="34" charset="0"/>
              </a:rPr>
              <a:t>As relações de consumo e o papel da Anatel</a:t>
            </a:r>
          </a:p>
        </p:txBody>
      </p:sp>
      <p:sp>
        <p:nvSpPr>
          <p:cNvPr id="30" name="Retângulo: Cantos Arredondados 69">
            <a:extLst>
              <a:ext uri="{FF2B5EF4-FFF2-40B4-BE49-F238E27FC236}">
                <a16:creationId xmlns:a16="http://schemas.microsoft.com/office/drawing/2014/main" id="{760B3DE5-0A84-7F69-F5C8-BB7C47A37F2E}"/>
              </a:ext>
            </a:extLst>
          </p:cNvPr>
          <p:cNvSpPr/>
          <p:nvPr/>
        </p:nvSpPr>
        <p:spPr>
          <a:xfrm>
            <a:off x="4499992" y="3403525"/>
            <a:ext cx="2047040" cy="159326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Participação Eventos Externos</a:t>
            </a:r>
          </a:p>
        </p:txBody>
      </p:sp>
      <p:cxnSp>
        <p:nvCxnSpPr>
          <p:cNvPr id="33" name="Conector reto 68">
            <a:extLst>
              <a:ext uri="{FF2B5EF4-FFF2-40B4-BE49-F238E27FC236}">
                <a16:creationId xmlns:a16="http://schemas.microsoft.com/office/drawing/2014/main" id="{A463A297-B381-5C38-8EEA-32C06651DC1A}"/>
              </a:ext>
            </a:extLst>
          </p:cNvPr>
          <p:cNvCxnSpPr>
            <a:cxnSpLocks/>
          </p:cNvCxnSpPr>
          <p:nvPr/>
        </p:nvCxnSpPr>
        <p:spPr>
          <a:xfrm>
            <a:off x="6552352" y="3562851"/>
            <a:ext cx="2160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9">
            <a:extLst>
              <a:ext uri="{FF2B5EF4-FFF2-40B4-BE49-F238E27FC236}">
                <a16:creationId xmlns:a16="http://schemas.microsoft.com/office/drawing/2014/main" id="{383BB2AD-00E6-ECD4-B9F6-6374E28EA84A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pt-BR" sz="900">
              <a:solidFill>
                <a:srgbClr val="FFFFFF"/>
              </a:solidFill>
            </a:endParaRPr>
          </a:p>
        </p:txBody>
      </p:sp>
      <p:sp>
        <p:nvSpPr>
          <p:cNvPr id="13" name="Slide Number Placeholder 39">
            <a:extLst>
              <a:ext uri="{FF2B5EF4-FFF2-40B4-BE49-F238E27FC236}">
                <a16:creationId xmlns:a16="http://schemas.microsoft.com/office/drawing/2014/main" id="{33FD1432-AFC3-8CA1-4D07-C69CA8769786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pt-BR" sz="900">
              <a:solidFill>
                <a:srgbClr val="FFFFFF"/>
              </a:solidFill>
            </a:endParaRPr>
          </a:p>
        </p:txBody>
      </p:sp>
      <p:sp>
        <p:nvSpPr>
          <p:cNvPr id="15" name="Slide Number Placeholder 39">
            <a:extLst>
              <a:ext uri="{FF2B5EF4-FFF2-40B4-BE49-F238E27FC236}">
                <a16:creationId xmlns:a16="http://schemas.microsoft.com/office/drawing/2014/main" id="{F41952C0-1EDC-E9A5-C6DC-1F50F4A2BC05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pt-BR" sz="900">
              <a:solidFill>
                <a:srgbClr val="FFFFFF"/>
              </a:solidFill>
            </a:endParaRPr>
          </a:p>
        </p:txBody>
      </p:sp>
      <p:sp>
        <p:nvSpPr>
          <p:cNvPr id="21" name="Rectangle 59">
            <a:extLst>
              <a:ext uri="{FF2B5EF4-FFF2-40B4-BE49-F238E27FC236}">
                <a16:creationId xmlns:a16="http://schemas.microsoft.com/office/drawing/2014/main" id="{3E680317-7281-941B-9423-85C9CBB0AD06}"/>
              </a:ext>
            </a:extLst>
          </p:cNvPr>
          <p:cNvSpPr/>
          <p:nvPr/>
        </p:nvSpPr>
        <p:spPr>
          <a:xfrm>
            <a:off x="4034965" y="4988938"/>
            <a:ext cx="483076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00" b="1" dirty="0">
                <a:solidFill>
                  <a:srgbClr val="FFFFFF"/>
                </a:solidFill>
                <a:latin typeface="TIM Sans Heavy" pitchFamily="2" charset="77"/>
                <a:ea typeface="+mn-ea"/>
              </a:rPr>
              <a:t> </a:t>
            </a:r>
            <a:r>
              <a:rPr lang="pt-BR" sz="600" dirty="0">
                <a:solidFill>
                  <a:srgbClr val="FFFFFF"/>
                </a:solidFill>
                <a:latin typeface="TIM Sans Medium" pitchFamily="2" charset="77"/>
                <a:ea typeface="+mn-ea"/>
              </a:rPr>
              <a:t>O conteúdo desse material só deve ser compartilhado com autorização.</a:t>
            </a:r>
          </a:p>
        </p:txBody>
      </p:sp>
      <p:sp>
        <p:nvSpPr>
          <p:cNvPr id="45" name="TextBox 20">
            <a:extLst>
              <a:ext uri="{FF2B5EF4-FFF2-40B4-BE49-F238E27FC236}">
                <a16:creationId xmlns:a16="http://schemas.microsoft.com/office/drawing/2014/main" id="{D7FA7855-92B3-D69C-C30D-65F75DEFBA99}"/>
              </a:ext>
            </a:extLst>
          </p:cNvPr>
          <p:cNvSpPr txBox="1"/>
          <p:nvPr/>
        </p:nvSpPr>
        <p:spPr>
          <a:xfrm>
            <a:off x="95271" y="4894907"/>
            <a:ext cx="150049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75" b="1" i="1" dirty="0">
                <a:solidFill>
                  <a:srgbClr val="FFFFFF"/>
                </a:solidFill>
                <a:latin typeface="TIM Sans" pitchFamily="2" charset="77"/>
                <a:ea typeface="+mn-ea"/>
              </a:rPr>
              <a:t>Ouvidoria</a:t>
            </a:r>
            <a:endParaRPr lang="pt-BR" sz="675" i="1" dirty="0">
              <a:solidFill>
                <a:srgbClr val="FFFFFF"/>
              </a:solidFill>
              <a:latin typeface="TIM Sans Light" pitchFamily="2" charset="77"/>
              <a:ea typeface="+mn-ea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DB1CE6BB-78C2-E033-F69E-EA46379CE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37" y="2270086"/>
            <a:ext cx="3919726" cy="54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28588" lvl="1" indent="-128588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4 Reuniões ordinárias híbridas</a:t>
            </a:r>
          </a:p>
          <a:p>
            <a:pPr marL="360363" lvl="2" indent="-171450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sedes TIM no Centro-Oeste, Sudeste e Nordeste</a:t>
            </a:r>
          </a:p>
          <a:p>
            <a:pPr marL="128588" lvl="1" indent="-128588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900" dirty="0">
                <a:solidFill>
                  <a:schemeClr val="bg1"/>
                </a:solidFill>
                <a:latin typeface="TIM Sans" panose="00000500000000000000" pitchFamily="2" charset="0"/>
                <a:ea typeface="+mn-ea"/>
              </a:rPr>
              <a:t>1 Reunião extraordinária realizada por videoconferência</a:t>
            </a:r>
          </a:p>
        </p:txBody>
      </p:sp>
      <p:sp>
        <p:nvSpPr>
          <p:cNvPr id="10" name="Retângulo: Cantos Arredondados 69">
            <a:extLst>
              <a:ext uri="{FF2B5EF4-FFF2-40B4-BE49-F238E27FC236}">
                <a16:creationId xmlns:a16="http://schemas.microsoft.com/office/drawing/2014/main" id="{74E7E5C2-C127-56BA-2F7D-57726062E4F1}"/>
              </a:ext>
            </a:extLst>
          </p:cNvPr>
          <p:cNvSpPr/>
          <p:nvPr/>
        </p:nvSpPr>
        <p:spPr>
          <a:xfrm>
            <a:off x="115237" y="2099914"/>
            <a:ext cx="2095310" cy="15545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Reuniões Realizadas</a:t>
            </a:r>
          </a:p>
        </p:txBody>
      </p:sp>
      <p:cxnSp>
        <p:nvCxnSpPr>
          <p:cNvPr id="32" name="Conector reto 68">
            <a:extLst>
              <a:ext uri="{FF2B5EF4-FFF2-40B4-BE49-F238E27FC236}">
                <a16:creationId xmlns:a16="http://schemas.microsoft.com/office/drawing/2014/main" id="{ADC277EC-BBBA-D650-3624-8241D814D5E6}"/>
              </a:ext>
            </a:extLst>
          </p:cNvPr>
          <p:cNvCxnSpPr>
            <a:cxnSpLocks/>
          </p:cNvCxnSpPr>
          <p:nvPr/>
        </p:nvCxnSpPr>
        <p:spPr>
          <a:xfrm>
            <a:off x="6552352" y="899076"/>
            <a:ext cx="2160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68">
            <a:extLst>
              <a:ext uri="{FF2B5EF4-FFF2-40B4-BE49-F238E27FC236}">
                <a16:creationId xmlns:a16="http://schemas.microsoft.com/office/drawing/2014/main" id="{A5967293-2998-7BDE-C387-B4BE0C6522EF}"/>
              </a:ext>
            </a:extLst>
          </p:cNvPr>
          <p:cNvCxnSpPr>
            <a:cxnSpLocks/>
          </p:cNvCxnSpPr>
          <p:nvPr/>
        </p:nvCxnSpPr>
        <p:spPr>
          <a:xfrm>
            <a:off x="2134320" y="3065209"/>
            <a:ext cx="1188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68">
            <a:extLst>
              <a:ext uri="{FF2B5EF4-FFF2-40B4-BE49-F238E27FC236}">
                <a16:creationId xmlns:a16="http://schemas.microsoft.com/office/drawing/2014/main" id="{F92B8A2B-FD8B-063F-0388-7F13FA7361FD}"/>
              </a:ext>
            </a:extLst>
          </p:cNvPr>
          <p:cNvCxnSpPr>
            <a:cxnSpLocks/>
          </p:cNvCxnSpPr>
          <p:nvPr/>
        </p:nvCxnSpPr>
        <p:spPr>
          <a:xfrm>
            <a:off x="2116397" y="898558"/>
            <a:ext cx="1188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tângulo: Cantos Arredondados 69">
            <a:extLst>
              <a:ext uri="{FF2B5EF4-FFF2-40B4-BE49-F238E27FC236}">
                <a16:creationId xmlns:a16="http://schemas.microsoft.com/office/drawing/2014/main" id="{00451175-F371-4833-D701-510EA354D1F4}"/>
              </a:ext>
            </a:extLst>
          </p:cNvPr>
          <p:cNvSpPr/>
          <p:nvPr/>
        </p:nvSpPr>
        <p:spPr>
          <a:xfrm>
            <a:off x="116936" y="743103"/>
            <a:ext cx="2095310" cy="15545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Mensagem Ouvidora TI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2187175-3D82-C53A-1C87-C85E7CC5FAD7}"/>
              </a:ext>
            </a:extLst>
          </p:cNvPr>
          <p:cNvCxnSpPr/>
          <p:nvPr/>
        </p:nvCxnSpPr>
        <p:spPr>
          <a:xfrm>
            <a:off x="4067944" y="709790"/>
            <a:ext cx="0" cy="3806176"/>
          </a:xfrm>
          <a:prstGeom prst="line">
            <a:avLst/>
          </a:prstGeom>
          <a:ln w="12700">
            <a:solidFill>
              <a:schemeClr val="tx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8" name="Slide Zoom 17">
                <a:extLst>
                  <a:ext uri="{FF2B5EF4-FFF2-40B4-BE49-F238E27FC236}">
                    <a16:creationId xmlns:a16="http://schemas.microsoft.com/office/drawing/2014/main" id="{2D63BA99-B921-59B1-78C0-74880B45CC0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60793512"/>
                  </p:ext>
                </p:extLst>
              </p:nvPr>
            </p:nvGraphicFramePr>
            <p:xfrm>
              <a:off x="432346" y="963221"/>
              <a:ext cx="1773124" cy="997382"/>
            </p:xfrm>
            <a:graphic>
              <a:graphicData uri="http://schemas.microsoft.com/office/powerpoint/2016/slidezoom">
                <pslz:sldZm>
                  <pslz:sldZmObj sldId="2147475743" cId="2541619889">
                    <pslz:zmPr id="{4E6097A3-B9FE-4143-8C82-3DB0E0E3F13B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773124" cy="997382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8" name="Slide Zoom 17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2D63BA99-B921-59B1-78C0-74880B45CC0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2346" y="963221"/>
                <a:ext cx="1773124" cy="997382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2" name="Slide Zoom 21">
                <a:extLst>
                  <a:ext uri="{FF2B5EF4-FFF2-40B4-BE49-F238E27FC236}">
                    <a16:creationId xmlns:a16="http://schemas.microsoft.com/office/drawing/2014/main" id="{4FCAA1AD-4968-6B3A-EE74-1C5323250BA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61919816"/>
                  </p:ext>
                </p:extLst>
              </p:nvPr>
            </p:nvGraphicFramePr>
            <p:xfrm>
              <a:off x="6718179" y="2280078"/>
              <a:ext cx="335074" cy="188480"/>
            </p:xfrm>
            <a:graphic>
              <a:graphicData uri="http://schemas.microsoft.com/office/powerpoint/2016/slidezoom">
                <pslz:sldZm>
                  <pslz:sldZmObj sldId="2147475742" cId="1296923482">
                    <pslz:zmPr id="{9183298F-935D-4DE9-9D23-4DCCE29B2F59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35074" cy="18848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2" name="Slide Zoom 21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4FCAA1AD-4968-6B3A-EE74-1C5323250BA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718179" y="2280078"/>
                <a:ext cx="335074" cy="18848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13336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0F03C7FD-9830-EB3A-AC0E-7645CDAFE4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3789587"/>
              </p:ext>
            </p:extLst>
          </p:nvPr>
        </p:nvGraphicFramePr>
        <p:xfrm>
          <a:off x="4141408" y="1094066"/>
          <a:ext cx="5471152" cy="4035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02CC244C-21E1-8270-6F6D-4C564DC16B8C}"/>
              </a:ext>
            </a:extLst>
          </p:cNvPr>
          <p:cNvSpPr/>
          <p:nvPr/>
        </p:nvSpPr>
        <p:spPr>
          <a:xfrm>
            <a:off x="401524" y="684307"/>
            <a:ext cx="3760784" cy="31226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pt-BR" sz="1200" b="1" dirty="0">
                <a:solidFill>
                  <a:srgbClr val="FFFFFF"/>
                </a:solidFill>
                <a:latin typeface="TIM Sans" panose="00000500000000000000" pitchFamily="2" charset="0"/>
                <a:ea typeface="+mn-ea"/>
                <a:cs typeface="Calibri"/>
              </a:rPr>
              <a:t>Reuniões Conselho</a:t>
            </a:r>
          </a:p>
        </p:txBody>
      </p:sp>
      <p:sp>
        <p:nvSpPr>
          <p:cNvPr id="17" name="Rounded Rectangle 13">
            <a:extLst>
              <a:ext uri="{FF2B5EF4-FFF2-40B4-BE49-F238E27FC236}">
                <a16:creationId xmlns:a16="http://schemas.microsoft.com/office/drawing/2014/main" id="{EED47A4E-775B-F03C-0460-9F147056D030}"/>
              </a:ext>
            </a:extLst>
          </p:cNvPr>
          <p:cNvSpPr/>
          <p:nvPr/>
        </p:nvSpPr>
        <p:spPr>
          <a:xfrm>
            <a:off x="4996593" y="684305"/>
            <a:ext cx="3760783" cy="312261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pt-BR" sz="1200" b="1" dirty="0">
                <a:solidFill>
                  <a:srgbClr val="FFFFFF"/>
                </a:solidFill>
                <a:latin typeface="TIM Sans" panose="00000500000000000000" pitchFamily="2" charset="0"/>
                <a:ea typeface="+mn-ea"/>
                <a:cs typeface="Calibri"/>
              </a:rPr>
              <a:t>Visitas Guiadas</a:t>
            </a:r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27F72740-1041-257C-D715-30FED0028A73}"/>
              </a:ext>
            </a:extLst>
          </p:cNvPr>
          <p:cNvSpPr txBox="1"/>
          <p:nvPr/>
        </p:nvSpPr>
        <p:spPr>
          <a:xfrm>
            <a:off x="416132" y="4955799"/>
            <a:ext cx="4321125" cy="161583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pt-BR" sz="600" b="1" i="1" dirty="0">
                <a:solidFill>
                  <a:srgbClr val="FFFFFF"/>
                </a:solidFill>
                <a:latin typeface="TIM Sans"/>
                <a:ea typeface="+mn-ea"/>
              </a:rPr>
              <a:t>Ouvidoria </a:t>
            </a:r>
            <a:endParaRPr lang="pt-BR" sz="600" i="1" dirty="0">
              <a:solidFill>
                <a:srgbClr val="FFFFFF"/>
              </a:solidFill>
              <a:latin typeface="TIM Sans Light" pitchFamily="2" charset="77"/>
              <a:ea typeface="+mn-ea"/>
            </a:endParaRPr>
          </a:p>
        </p:txBody>
      </p:sp>
      <p:pic>
        <p:nvPicPr>
          <p:cNvPr id="4" name="Picture 160">
            <a:hlinkClick r:id="rId7" action="ppaction://hlinksldjump"/>
            <a:extLst>
              <a:ext uri="{FF2B5EF4-FFF2-40B4-BE49-F238E27FC236}">
                <a16:creationId xmlns:a16="http://schemas.microsoft.com/office/drawing/2014/main" id="{2C33375B-63A1-6785-8EBB-9542A8821E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17595" y="4664164"/>
            <a:ext cx="307700" cy="261603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DB97B7-70C8-4870-BD84-9AA63B1A4071}"/>
              </a:ext>
            </a:extLst>
          </p:cNvPr>
          <p:cNvSpPr txBox="1">
            <a:spLocks/>
          </p:cNvSpPr>
          <p:nvPr/>
        </p:nvSpPr>
        <p:spPr>
          <a:xfrm>
            <a:off x="-25271" y="110704"/>
            <a:ext cx="5187533" cy="495203"/>
          </a:xfrm>
          <a:prstGeom prst="rect">
            <a:avLst/>
          </a:prstGeom>
        </p:spPr>
        <p:txBody>
          <a:bodyPr vert="horz" lIns="68580" tIns="34290" rIns="68580" bIns="34290" rtlCol="0" anchor="t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i="1" kern="1200">
                <a:solidFill>
                  <a:srgbClr val="0000FF"/>
                </a:solidFill>
                <a:latin typeface="TIM Sans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r>
              <a:rPr lang="pt-BR" sz="2400" dirty="0">
                <a:solidFill>
                  <a:srgbClr val="FFFFFF"/>
                </a:solidFill>
              </a:rPr>
              <a:t>Conselho de Usuários TIM: Registros 2023</a:t>
            </a:r>
          </a:p>
        </p:txBody>
      </p:sp>
      <p:graphicFrame>
        <p:nvGraphicFramePr>
          <p:cNvPr id="43" name="Diagrama 42">
            <a:extLst>
              <a:ext uri="{FF2B5EF4-FFF2-40B4-BE49-F238E27FC236}">
                <a16:creationId xmlns:a16="http://schemas.microsoft.com/office/drawing/2014/main" id="{9F8A73DE-0854-6AC9-BBD5-AB2757DFCF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2358168"/>
              </p:ext>
            </p:extLst>
          </p:nvPr>
        </p:nvGraphicFramePr>
        <p:xfrm>
          <a:off x="-187168" y="1137138"/>
          <a:ext cx="4975192" cy="3865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31" name="TextBox 20">
            <a:extLst>
              <a:ext uri="{FF2B5EF4-FFF2-40B4-BE49-F238E27FC236}">
                <a16:creationId xmlns:a16="http://schemas.microsoft.com/office/drawing/2014/main" id="{1CE74821-623B-7EEB-3543-5712DEB9843C}"/>
              </a:ext>
            </a:extLst>
          </p:cNvPr>
          <p:cNvSpPr txBox="1"/>
          <p:nvPr/>
        </p:nvSpPr>
        <p:spPr>
          <a:xfrm>
            <a:off x="5592149" y="4714175"/>
            <a:ext cx="2820767" cy="161583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pt-BR" sz="600" b="1" dirty="0">
                <a:solidFill>
                  <a:srgbClr val="FFFFFF"/>
                </a:solidFill>
                <a:latin typeface="TIM Sans"/>
                <a:ea typeface="+mn-ea"/>
              </a:rPr>
              <a:t>* Visita guiada e ato de implementação do Projeto CDC Sem Fronteiras</a:t>
            </a:r>
            <a:endParaRPr lang="pt-BR" sz="600" dirty="0">
              <a:solidFill>
                <a:srgbClr val="FFFFFF"/>
              </a:solidFill>
              <a:latin typeface="TIM Sans Light" pitchFamily="2" charset="77"/>
              <a:ea typeface="+mn-ea"/>
            </a:endParaRPr>
          </a:p>
        </p:txBody>
      </p:sp>
      <p:sp>
        <p:nvSpPr>
          <p:cNvPr id="3" name="Rectangle 59">
            <a:extLst>
              <a:ext uri="{FF2B5EF4-FFF2-40B4-BE49-F238E27FC236}">
                <a16:creationId xmlns:a16="http://schemas.microsoft.com/office/drawing/2014/main" id="{7CA11DBE-5F83-0DD0-B934-83DA16E40064}"/>
              </a:ext>
            </a:extLst>
          </p:cNvPr>
          <p:cNvSpPr/>
          <p:nvPr/>
        </p:nvSpPr>
        <p:spPr>
          <a:xfrm>
            <a:off x="4034965" y="4988938"/>
            <a:ext cx="483076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00" b="1" dirty="0">
                <a:solidFill>
                  <a:srgbClr val="FFFFFF"/>
                </a:solidFill>
                <a:latin typeface="TIM Sans Heavy" pitchFamily="2" charset="77"/>
                <a:ea typeface="+mn-ea"/>
              </a:rPr>
              <a:t> </a:t>
            </a:r>
            <a:r>
              <a:rPr lang="pt-BR" sz="600" dirty="0">
                <a:solidFill>
                  <a:srgbClr val="FFFFFF"/>
                </a:solidFill>
                <a:latin typeface="TIM Sans Medium" pitchFamily="2" charset="77"/>
                <a:ea typeface="+mn-ea"/>
              </a:rPr>
              <a:t>O conteúdo desse material só deve ser compartilhado com autorização.</a:t>
            </a:r>
          </a:p>
        </p:txBody>
      </p:sp>
      <p:sp>
        <p:nvSpPr>
          <p:cNvPr id="6" name="Slide Number Placeholder 39">
            <a:extLst>
              <a:ext uri="{FF2B5EF4-FFF2-40B4-BE49-F238E27FC236}">
                <a16:creationId xmlns:a16="http://schemas.microsoft.com/office/drawing/2014/main" id="{A991130A-6E54-763C-D60E-845E060B14F6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pt-BR" sz="9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70731D-A789-0D46-C023-59900CC4696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50112" y="198980"/>
            <a:ext cx="386384" cy="323597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1750AA1-C585-D9F2-D823-B5A86362B4D8}"/>
              </a:ext>
            </a:extLst>
          </p:cNvPr>
          <p:cNvCxnSpPr/>
          <p:nvPr/>
        </p:nvCxnSpPr>
        <p:spPr>
          <a:xfrm>
            <a:off x="4572000" y="709790"/>
            <a:ext cx="0" cy="3806176"/>
          </a:xfrm>
          <a:prstGeom prst="line">
            <a:avLst/>
          </a:prstGeom>
          <a:ln w="12700">
            <a:solidFill>
              <a:schemeClr val="tx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6923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12">
            <a:extLst>
              <a:ext uri="{FF2B5EF4-FFF2-40B4-BE49-F238E27FC236}">
                <a16:creationId xmlns:a16="http://schemas.microsoft.com/office/drawing/2014/main" id="{8BC5D4F3-B49E-03E0-3C42-862F164F7AA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840DD"/>
              </a:clrFrom>
              <a:clrTo>
                <a:srgbClr val="0840DD">
                  <a:alpha val="0"/>
                </a:srgbClr>
              </a:clrTo>
            </a:clrChange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aintBrush trans="74000" brushSize="4"/>
                    </a14:imgEffect>
                    <a14:imgEffect>
                      <a14:sharpenSoften amount="-17000"/>
                    </a14:imgEffect>
                    <a14:imgEffect>
                      <a14:colorTemperature colorTemp="6811"/>
                    </a14:imgEffect>
                    <a14:imgEffect>
                      <a14:saturation sat="302000"/>
                    </a14:imgEffect>
                    <a14:imgEffect>
                      <a14:brightnessContrast bright="51000" contrast="1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21889" y="0"/>
            <a:ext cx="9187777" cy="5143500"/>
          </a:xfrm>
          <a:prstGeom prst="rect">
            <a:avLst/>
          </a:prstGeom>
          <a:solidFill>
            <a:srgbClr val="0225D7"/>
          </a:solidFill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7E375A7-ECE1-76DB-18B0-DAA96BF89C96}"/>
              </a:ext>
            </a:extLst>
          </p:cNvPr>
          <p:cNvSpPr txBox="1">
            <a:spLocks/>
          </p:cNvSpPr>
          <p:nvPr/>
        </p:nvSpPr>
        <p:spPr>
          <a:xfrm>
            <a:off x="71578" y="133587"/>
            <a:ext cx="7009491" cy="495203"/>
          </a:xfrm>
          <a:prstGeom prst="rect">
            <a:avLst/>
          </a:prstGeom>
        </p:spPr>
        <p:txBody>
          <a:bodyPr vert="horz" lIns="68580" tIns="34290" rIns="68580" bIns="34290" rtlCol="0" anchor="t">
            <a:normAutofit fontScale="850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i="1" kern="1200">
                <a:solidFill>
                  <a:srgbClr val="0000FF"/>
                </a:solidFill>
                <a:latin typeface="TIM Sans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750"/>
              </a:spcBef>
              <a:spcAft>
                <a:spcPts val="0"/>
              </a:spcAft>
            </a:pPr>
            <a:r>
              <a:rPr lang="pt-BR" sz="2400" dirty="0">
                <a:solidFill>
                  <a:schemeClr val="bg1"/>
                </a:solidFill>
              </a:rPr>
              <a:t>Conselho de Usuários TIM: Principais Atividades e Temas 2023</a:t>
            </a:r>
          </a:p>
        </p:txBody>
      </p:sp>
      <p:sp>
        <p:nvSpPr>
          <p:cNvPr id="20" name="Rectangle 59">
            <a:extLst>
              <a:ext uri="{FF2B5EF4-FFF2-40B4-BE49-F238E27FC236}">
                <a16:creationId xmlns:a16="http://schemas.microsoft.com/office/drawing/2014/main" id="{C763E630-EA2C-97CE-910F-F38C2A5BD02D}"/>
              </a:ext>
            </a:extLst>
          </p:cNvPr>
          <p:cNvSpPr/>
          <p:nvPr/>
        </p:nvSpPr>
        <p:spPr>
          <a:xfrm>
            <a:off x="4034965" y="4988938"/>
            <a:ext cx="483076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00" b="1" dirty="0">
                <a:solidFill>
                  <a:srgbClr val="FFFFFF"/>
                </a:solidFill>
                <a:latin typeface="TIM Sans Heavy" pitchFamily="2" charset="77"/>
                <a:ea typeface="+mn-ea"/>
              </a:rPr>
              <a:t> </a:t>
            </a:r>
            <a:r>
              <a:rPr lang="pt-BR" sz="600" dirty="0">
                <a:solidFill>
                  <a:srgbClr val="FFFFFF"/>
                </a:solidFill>
                <a:latin typeface="TIM Sans Medium" pitchFamily="2" charset="77"/>
                <a:ea typeface="+mn-ea"/>
              </a:rPr>
              <a:t>O conteúdo desse material só deve ser compartilhado com autorização.</a:t>
            </a:r>
          </a:p>
        </p:txBody>
      </p:sp>
      <p:sp>
        <p:nvSpPr>
          <p:cNvPr id="21" name="Rectangle 59">
            <a:extLst>
              <a:ext uri="{FF2B5EF4-FFF2-40B4-BE49-F238E27FC236}">
                <a16:creationId xmlns:a16="http://schemas.microsoft.com/office/drawing/2014/main" id="{3E680317-7281-941B-9423-85C9CBB0AD06}"/>
              </a:ext>
            </a:extLst>
          </p:cNvPr>
          <p:cNvSpPr/>
          <p:nvPr/>
        </p:nvSpPr>
        <p:spPr>
          <a:xfrm>
            <a:off x="4034965" y="4988938"/>
            <a:ext cx="483076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00" b="1" dirty="0">
                <a:solidFill>
                  <a:srgbClr val="FFFFFF"/>
                </a:solidFill>
                <a:latin typeface="TIM Sans Heavy" pitchFamily="2" charset="77"/>
                <a:ea typeface="+mn-ea"/>
              </a:rPr>
              <a:t> </a:t>
            </a:r>
            <a:r>
              <a:rPr lang="pt-BR" sz="600" dirty="0">
                <a:solidFill>
                  <a:srgbClr val="FFFFFF"/>
                </a:solidFill>
                <a:latin typeface="TIM Sans Medium" pitchFamily="2" charset="77"/>
                <a:ea typeface="+mn-ea"/>
              </a:rPr>
              <a:t>O conteúdo desse material só deve ser compartilhado com autorização.</a:t>
            </a:r>
          </a:p>
        </p:txBody>
      </p:sp>
      <p:sp>
        <p:nvSpPr>
          <p:cNvPr id="45" name="TextBox 20">
            <a:extLst>
              <a:ext uri="{FF2B5EF4-FFF2-40B4-BE49-F238E27FC236}">
                <a16:creationId xmlns:a16="http://schemas.microsoft.com/office/drawing/2014/main" id="{D7FA7855-92B3-D69C-C30D-65F75DEFBA99}"/>
              </a:ext>
            </a:extLst>
          </p:cNvPr>
          <p:cNvSpPr txBox="1"/>
          <p:nvPr/>
        </p:nvSpPr>
        <p:spPr>
          <a:xfrm>
            <a:off x="95271" y="4894907"/>
            <a:ext cx="150049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75" b="1" i="1" dirty="0">
                <a:solidFill>
                  <a:srgbClr val="FFFFFF"/>
                </a:solidFill>
                <a:latin typeface="TIM Sans" pitchFamily="2" charset="77"/>
                <a:ea typeface="+mn-ea"/>
              </a:rPr>
              <a:t>Ouvidoria</a:t>
            </a:r>
            <a:endParaRPr lang="pt-BR" sz="675" i="1" dirty="0">
              <a:solidFill>
                <a:srgbClr val="FFFFFF"/>
              </a:solidFill>
              <a:latin typeface="TIM Sans Light" pitchFamily="2" charset="77"/>
              <a:ea typeface="+mn-ea"/>
            </a:endParaRPr>
          </a:p>
        </p:txBody>
      </p:sp>
      <p:cxnSp>
        <p:nvCxnSpPr>
          <p:cNvPr id="42" name="Conector reto 68">
            <a:extLst>
              <a:ext uri="{FF2B5EF4-FFF2-40B4-BE49-F238E27FC236}">
                <a16:creationId xmlns:a16="http://schemas.microsoft.com/office/drawing/2014/main" id="{F92B8A2B-FD8B-063F-0388-7F13FA7361FD}"/>
              </a:ext>
            </a:extLst>
          </p:cNvPr>
          <p:cNvCxnSpPr>
            <a:cxnSpLocks/>
          </p:cNvCxnSpPr>
          <p:nvPr/>
        </p:nvCxnSpPr>
        <p:spPr>
          <a:xfrm>
            <a:off x="3059832" y="771550"/>
            <a:ext cx="1188000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tângulo: Cantos Arredondados 69">
            <a:extLst>
              <a:ext uri="{FF2B5EF4-FFF2-40B4-BE49-F238E27FC236}">
                <a16:creationId xmlns:a16="http://schemas.microsoft.com/office/drawing/2014/main" id="{00451175-F371-4833-D701-510EA354D1F4}"/>
              </a:ext>
            </a:extLst>
          </p:cNvPr>
          <p:cNvSpPr/>
          <p:nvPr/>
        </p:nvSpPr>
        <p:spPr>
          <a:xfrm>
            <a:off x="116936" y="627534"/>
            <a:ext cx="3014904" cy="15545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900" b="1" dirty="0">
                <a:solidFill>
                  <a:srgbClr val="FFFFFF"/>
                </a:solidFill>
                <a:latin typeface="Calibri" panose="020F0502020204030204"/>
              </a:rPr>
              <a:t>Mensagem Ouvidora TIM Ana Cristina Oliveira</a:t>
            </a:r>
          </a:p>
        </p:txBody>
      </p:sp>
      <p:pic>
        <p:nvPicPr>
          <p:cNvPr id="48" name="Mensagem Ouvidora TIM">
            <a:hlinkClick r:id="" action="ppaction://media"/>
            <a:extLst>
              <a:ext uri="{FF2B5EF4-FFF2-40B4-BE49-F238E27FC236}">
                <a16:creationId xmlns:a16="http://schemas.microsoft.com/office/drawing/2014/main" id="{309F5B51-A5DD-BACE-5842-3B59C9A910C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295989" y="818670"/>
            <a:ext cx="2572155" cy="4130625"/>
          </a:xfrm>
          <a:prstGeom prst="rect">
            <a:avLst/>
          </a:prstGeom>
        </p:spPr>
      </p:pic>
      <p:pic>
        <p:nvPicPr>
          <p:cNvPr id="16" name="Picture 160">
            <a:hlinkClick r:id="rId7" action="ppaction://hlinksldjump"/>
            <a:extLst>
              <a:ext uri="{FF2B5EF4-FFF2-40B4-BE49-F238E27FC236}">
                <a16:creationId xmlns:a16="http://schemas.microsoft.com/office/drawing/2014/main" id="{4B9A1EBA-13F8-E4A8-AB72-88ED03BDB9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17595" y="4664164"/>
            <a:ext cx="307700" cy="261603"/>
          </a:xfrm>
          <a:prstGeom prst="rect">
            <a:avLst/>
          </a:prstGeom>
        </p:spPr>
      </p:pic>
      <p:sp>
        <p:nvSpPr>
          <p:cNvPr id="18" name="Slide Number Placeholder 39">
            <a:extLst>
              <a:ext uri="{FF2B5EF4-FFF2-40B4-BE49-F238E27FC236}">
                <a16:creationId xmlns:a16="http://schemas.microsoft.com/office/drawing/2014/main" id="{134ADE3B-DD25-D8CA-17AD-695C3FD47A98}"/>
              </a:ext>
            </a:extLst>
          </p:cNvPr>
          <p:cNvSpPr txBox="1">
            <a:spLocks/>
          </p:cNvSpPr>
          <p:nvPr/>
        </p:nvSpPr>
        <p:spPr>
          <a:xfrm>
            <a:off x="8688640" y="4877030"/>
            <a:ext cx="396578" cy="196208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1200" b="1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F807B70-6395-8945-99F1-E53109619FCB}" type="slidenum">
              <a:rPr lang="pt-BR" sz="90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pt-BR" sz="90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5DCE1DD-0B54-A89E-3F4D-5FD44806B6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50112" y="198980"/>
            <a:ext cx="386384" cy="323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619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868" fill="hold"/>
                                        <p:tgtEl>
                                          <p:spTgt spid="4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8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, player, person, game&#10;&#10;Description automatically generated">
            <a:extLst>
              <a:ext uri="{FF2B5EF4-FFF2-40B4-BE49-F238E27FC236}">
                <a16:creationId xmlns:a16="http://schemas.microsoft.com/office/drawing/2014/main" id="{64A1B2E5-9887-2142-A28F-095236F3E1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2" t="18751" r="8745" b="17105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F450A6-8B39-E84B-97DE-1144812EF42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840DD"/>
              </a:clrFrom>
              <a:clrTo>
                <a:srgbClr val="0840DD">
                  <a:alpha val="0"/>
                </a:srgbClr>
              </a:clrTo>
            </a:clrChange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Brush trans="74000" brushSize="4"/>
                    </a14:imgEffect>
                    <a14:imgEffect>
                      <a14:sharpenSoften amount="-17000"/>
                    </a14:imgEffect>
                    <a14:imgEffect>
                      <a14:colorTemperature colorTemp="6811"/>
                    </a14:imgEffect>
                    <a14:imgEffect>
                      <a14:saturation sat="302000"/>
                    </a14:imgEffect>
                    <a14:imgEffect>
                      <a14:brightnessContrast bright="51000" contrast="1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63390" y="0"/>
            <a:ext cx="5180611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1B47DCD-F629-0140-B35F-85219A5A55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7764" y="1595064"/>
            <a:ext cx="3152407" cy="8363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77DCE91-E7D3-8749-A9F1-D87EAF79283C}"/>
              </a:ext>
            </a:extLst>
          </p:cNvPr>
          <p:cNvSpPr txBox="1"/>
          <p:nvPr/>
        </p:nvSpPr>
        <p:spPr>
          <a:xfrm>
            <a:off x="4646815" y="2615659"/>
            <a:ext cx="26854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500" i="1" dirty="0">
                <a:solidFill>
                  <a:schemeClr val="bg1"/>
                </a:solidFill>
                <a:latin typeface="TIM Sans Thin" pitchFamily="2" charset="77"/>
              </a:rPr>
              <a:t>Obrigado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93658-CD6A-F34B-B0AC-29198765F043}"/>
              </a:ext>
            </a:extLst>
          </p:cNvPr>
          <p:cNvSpPr txBox="1"/>
          <p:nvPr/>
        </p:nvSpPr>
        <p:spPr>
          <a:xfrm>
            <a:off x="4713053" y="4294755"/>
            <a:ext cx="3023628" cy="29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53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653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3818053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Content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zione standard2" id="{FBFCADBC-6697-42DD-A769-60BB7DD73C06}" vid="{B1C9A9E9-C53D-471D-AAF5-89A999C1D3D8}"/>
    </a:ext>
  </a:extLst>
</a:theme>
</file>

<file path=ppt/theme/theme10.xml><?xml version="1.0" encoding="utf-8"?>
<a:theme xmlns:a="http://schemas.openxmlformats.org/drawingml/2006/main" name="7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9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383C6"/>
        </a:solidFill>
        <a:ln>
          <a:noFill/>
        </a:ln>
      </a:spPr>
      <a:bodyPr rtlCol="0" anchor="ctr"/>
      <a:lstStyle>
        <a:defPPr algn="ctr">
          <a:defRPr sz="1050" b="1" dirty="0">
            <a:latin typeface="TIM Sans" panose="00000500000000000000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1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_Capa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2_Capa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Capa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29F9035751C5347AFF7A9ED0A584464" ma:contentTypeVersion="11" ma:contentTypeDescription="Crie um novo documento." ma:contentTypeScope="" ma:versionID="8cc574759fcd9ff25b847bc8b2d6aabe">
  <xsd:schema xmlns:xsd="http://www.w3.org/2001/XMLSchema" xmlns:xs="http://www.w3.org/2001/XMLSchema" xmlns:p="http://schemas.microsoft.com/office/2006/metadata/properties" xmlns:ns3="b5b2a17c-6958-4bb1-9efb-75fbf2aee74a" xmlns:ns4="827b067b-4c89-48f5-8844-68e1362d1c70" targetNamespace="http://schemas.microsoft.com/office/2006/metadata/properties" ma:root="true" ma:fieldsID="8347adb7050fc7cf711a8b680da90f99" ns3:_="" ns4:_="">
    <xsd:import namespace="b5b2a17c-6958-4bb1-9efb-75fbf2aee74a"/>
    <xsd:import namespace="827b067b-4c89-48f5-8844-68e1362d1c7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2a17c-6958-4bb1-9efb-75fbf2aee7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7b067b-4c89-48f5-8844-68e1362d1c7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D372B5A-7733-4625-A192-4F25AE9D99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629233-F4E0-482B-AA80-B6EA4D51C0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b2a17c-6958-4bb1-9efb-75fbf2aee74a"/>
    <ds:schemaRef ds:uri="827b067b-4c89-48f5-8844-68e1362d1c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A7AE20C-76EA-4A3E-BDD0-B1597690CB1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6254</TotalTime>
  <Words>435</Words>
  <Application>Microsoft Office PowerPoint</Application>
  <PresentationFormat>Apresentação na tela (16:9)</PresentationFormat>
  <Paragraphs>76</Paragraphs>
  <Slides>5</Slides>
  <Notes>0</Notes>
  <HiddenSlides>2</HiddenSlides>
  <MMClips>1</MMClips>
  <ScaleCrop>false</ScaleCrop>
  <HeadingPairs>
    <vt:vector size="4" baseType="variant">
      <vt:variant>
        <vt:lpstr>Tema</vt:lpstr>
      </vt:variant>
      <vt:variant>
        <vt:i4>17</vt:i4>
      </vt:variant>
      <vt:variant>
        <vt:lpstr>Títulos de slides</vt:lpstr>
      </vt:variant>
      <vt:variant>
        <vt:i4>5</vt:i4>
      </vt:variant>
    </vt:vector>
  </HeadingPairs>
  <TitlesOfParts>
    <vt:vector size="22" baseType="lpstr">
      <vt:lpstr>Master Content</vt:lpstr>
      <vt:lpstr>5_Miolo</vt:lpstr>
      <vt:lpstr>6_Miolo</vt:lpstr>
      <vt:lpstr>Miolo</vt:lpstr>
      <vt:lpstr>1_Miolo</vt:lpstr>
      <vt:lpstr>2_Miolo</vt:lpstr>
      <vt:lpstr>3_Miolo</vt:lpstr>
      <vt:lpstr>4_Miolo</vt:lpstr>
      <vt:lpstr>Capa</vt:lpstr>
      <vt:lpstr>7_Miolo</vt:lpstr>
      <vt:lpstr>8_Miolo</vt:lpstr>
      <vt:lpstr>9_Miolo</vt:lpstr>
      <vt:lpstr>10_Miolo</vt:lpstr>
      <vt:lpstr>Tema do Office</vt:lpstr>
      <vt:lpstr>11_Miolo</vt:lpstr>
      <vt:lpstr>1_Capa</vt:lpstr>
      <vt:lpstr>2_Cap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fmenezes@timbrasil.com.br</dc:creator>
  <cp:lastModifiedBy>Victor De Oliveira Moraes E Silva</cp:lastModifiedBy>
  <cp:revision>4262</cp:revision>
  <cp:lastPrinted>2019-07-04T17:24:50Z</cp:lastPrinted>
  <dcterms:modified xsi:type="dcterms:W3CDTF">2024-03-21T14:5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9F9035751C5347AFF7A9ED0A584464</vt:lpwstr>
  </property>
  <property fmtid="{D5CDD505-2E9C-101B-9397-08002B2CF9AE}" pid="3" name="MSIP_Label_387f406a-379f-47ee-930c-6bec6e76f2a4_Enabled">
    <vt:lpwstr>true</vt:lpwstr>
  </property>
  <property fmtid="{D5CDD505-2E9C-101B-9397-08002B2CF9AE}" pid="4" name="MSIP_Label_387f406a-379f-47ee-930c-6bec6e76f2a4_SetDate">
    <vt:lpwstr>2023-12-13T19:02:23Z</vt:lpwstr>
  </property>
  <property fmtid="{D5CDD505-2E9C-101B-9397-08002B2CF9AE}" pid="5" name="MSIP_Label_387f406a-379f-47ee-930c-6bec6e76f2a4_Method">
    <vt:lpwstr>Privileged</vt:lpwstr>
  </property>
  <property fmtid="{D5CDD505-2E9C-101B-9397-08002B2CF9AE}" pid="6" name="MSIP_Label_387f406a-379f-47ee-930c-6bec6e76f2a4_Name">
    <vt:lpwstr>387f406a-379f-47ee-930c-6bec6e76f2a4</vt:lpwstr>
  </property>
  <property fmtid="{D5CDD505-2E9C-101B-9397-08002B2CF9AE}" pid="7" name="MSIP_Label_387f406a-379f-47ee-930c-6bec6e76f2a4_SiteId">
    <vt:lpwstr>57b8c96e-ac2f-4d78-a149-f1fc6817d3c4</vt:lpwstr>
  </property>
  <property fmtid="{D5CDD505-2E9C-101B-9397-08002B2CF9AE}" pid="8" name="MSIP_Label_387f406a-379f-47ee-930c-6bec6e76f2a4_ActionId">
    <vt:lpwstr>aff07355-9bdb-4644-859e-0d70aecc1eb6</vt:lpwstr>
  </property>
  <property fmtid="{D5CDD505-2E9C-101B-9397-08002B2CF9AE}" pid="9" name="MSIP_Label_387f406a-379f-47ee-930c-6bec6e76f2a4_ContentBits">
    <vt:lpwstr>2</vt:lpwstr>
  </property>
</Properties>
</file>